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sldIdLst>
    <p:sldId id="271" r:id="rId5"/>
    <p:sldId id="272" r:id="rId6"/>
    <p:sldId id="273"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4"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ACA80A-405E-42CD-A665-4CBB1F728964}" v="1" dt="2022-02-04T16:09:53.0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69" y="31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Godfrey" userId="e06d6e28-5d55-4343-86dc-c6a4780c7cea" providerId="ADAL" clId="{56ACA80A-405E-42CD-A665-4CBB1F728964}"/>
    <pc:docChg chg="custSel addSld modSld">
      <pc:chgData name="Michael Godfrey" userId="e06d6e28-5d55-4343-86dc-c6a4780c7cea" providerId="ADAL" clId="{56ACA80A-405E-42CD-A665-4CBB1F728964}" dt="2022-02-04T16:10:25.693" v="47" actId="1076"/>
      <pc:docMkLst>
        <pc:docMk/>
      </pc:docMkLst>
      <pc:sldChg chg="addSp delSp modSp new mod setBg chgLayout">
        <pc:chgData name="Michael Godfrey" userId="e06d6e28-5d55-4343-86dc-c6a4780c7cea" providerId="ADAL" clId="{56ACA80A-405E-42CD-A665-4CBB1F728964}" dt="2022-02-04T16:10:25.693" v="47" actId="1076"/>
        <pc:sldMkLst>
          <pc:docMk/>
          <pc:sldMk cId="3844361323" sldId="274"/>
        </pc:sldMkLst>
        <pc:spChg chg="del mod ord">
          <ac:chgData name="Michael Godfrey" userId="e06d6e28-5d55-4343-86dc-c6a4780c7cea" providerId="ADAL" clId="{56ACA80A-405E-42CD-A665-4CBB1F728964}" dt="2022-02-04T16:07:33.025" v="1" actId="700"/>
          <ac:spMkLst>
            <pc:docMk/>
            <pc:sldMk cId="3844361323" sldId="274"/>
            <ac:spMk id="2" creationId="{72712E89-6742-4B33-B747-310722186631}"/>
          </ac:spMkLst>
        </pc:spChg>
        <pc:spChg chg="del mod ord">
          <ac:chgData name="Michael Godfrey" userId="e06d6e28-5d55-4343-86dc-c6a4780c7cea" providerId="ADAL" clId="{56ACA80A-405E-42CD-A665-4CBB1F728964}" dt="2022-02-04T16:07:33.025" v="1" actId="700"/>
          <ac:spMkLst>
            <pc:docMk/>
            <pc:sldMk cId="3844361323" sldId="274"/>
            <ac:spMk id="3" creationId="{97A1C33B-3993-4ABF-AC09-49A28E244865}"/>
          </ac:spMkLst>
        </pc:spChg>
        <pc:spChg chg="add mod ord">
          <ac:chgData name="Michael Godfrey" userId="e06d6e28-5d55-4343-86dc-c6a4780c7cea" providerId="ADAL" clId="{56ACA80A-405E-42CD-A665-4CBB1F728964}" dt="2022-02-04T16:10:20.123" v="45" actId="26606"/>
          <ac:spMkLst>
            <pc:docMk/>
            <pc:sldMk cId="3844361323" sldId="274"/>
            <ac:spMk id="4" creationId="{4A2B91EF-39D1-423D-9665-EE48BC01848E}"/>
          </ac:spMkLst>
        </pc:spChg>
        <pc:spChg chg="add del mod ord">
          <ac:chgData name="Michael Godfrey" userId="e06d6e28-5d55-4343-86dc-c6a4780c7cea" providerId="ADAL" clId="{56ACA80A-405E-42CD-A665-4CBB1F728964}" dt="2022-02-04T16:07:39.882" v="3" actId="478"/>
          <ac:spMkLst>
            <pc:docMk/>
            <pc:sldMk cId="3844361323" sldId="274"/>
            <ac:spMk id="5" creationId="{25B12879-5806-4544-BAB3-CAE8205E8A37}"/>
          </ac:spMkLst>
        </pc:spChg>
        <pc:spChg chg="add del mod ord">
          <ac:chgData name="Michael Godfrey" userId="e06d6e28-5d55-4343-86dc-c6a4780c7cea" providerId="ADAL" clId="{56ACA80A-405E-42CD-A665-4CBB1F728964}" dt="2022-02-04T16:07:41.173" v="4" actId="478"/>
          <ac:spMkLst>
            <pc:docMk/>
            <pc:sldMk cId="3844361323" sldId="274"/>
            <ac:spMk id="6" creationId="{97A2469A-4772-4509-8802-BFD4642E9D84}"/>
          </ac:spMkLst>
        </pc:spChg>
        <pc:spChg chg="add del">
          <ac:chgData name="Michael Godfrey" userId="e06d6e28-5d55-4343-86dc-c6a4780c7cea" providerId="ADAL" clId="{56ACA80A-405E-42CD-A665-4CBB1F728964}" dt="2022-02-04T16:10:20.123" v="45" actId="26606"/>
          <ac:spMkLst>
            <pc:docMk/>
            <pc:sldMk cId="3844361323" sldId="274"/>
            <ac:spMk id="13" creationId="{D4771268-CB57-404A-9271-370EB28F6090}"/>
          </ac:spMkLst>
        </pc:spChg>
        <pc:spChg chg="add">
          <ac:chgData name="Michael Godfrey" userId="e06d6e28-5d55-4343-86dc-c6a4780c7cea" providerId="ADAL" clId="{56ACA80A-405E-42CD-A665-4CBB1F728964}" dt="2022-02-04T16:10:20.123" v="45" actId="26606"/>
          <ac:spMkLst>
            <pc:docMk/>
            <pc:sldMk cId="3844361323" sldId="274"/>
            <ac:spMk id="18" creationId="{3C54F4CE-85F0-46ED-80DA-9518C9251AD1}"/>
          </ac:spMkLst>
        </pc:spChg>
        <pc:spChg chg="add">
          <ac:chgData name="Michael Godfrey" userId="e06d6e28-5d55-4343-86dc-c6a4780c7cea" providerId="ADAL" clId="{56ACA80A-405E-42CD-A665-4CBB1F728964}" dt="2022-02-04T16:10:20.123" v="45" actId="26606"/>
          <ac:spMkLst>
            <pc:docMk/>
            <pc:sldMk cId="3844361323" sldId="274"/>
            <ac:spMk id="20" creationId="{DADD1FCA-8ACB-4958-81DD-4CDD6D3E1921}"/>
          </ac:spMkLst>
        </pc:spChg>
        <pc:picChg chg="add mod">
          <ac:chgData name="Michael Godfrey" userId="e06d6e28-5d55-4343-86dc-c6a4780c7cea" providerId="ADAL" clId="{56ACA80A-405E-42CD-A665-4CBB1F728964}" dt="2022-02-04T16:10:25.693" v="47" actId="1076"/>
          <ac:picMkLst>
            <pc:docMk/>
            <pc:sldMk cId="3844361323" sldId="274"/>
            <ac:picMk id="8" creationId="{28356306-494A-422D-BBCC-29E6368E41C4}"/>
          </ac:picMkLst>
        </pc:picChg>
      </pc:sldChg>
    </pc:docChg>
  </pc:docChgLst>
  <pc:docChgLst>
    <pc:chgData name="Michael Godfrey" userId="e06d6e28-5d55-4343-86dc-c6a4780c7cea" providerId="ADAL" clId="{68D28F12-E1E3-453C-8F4A-A0408B892436}"/>
    <pc:docChg chg="addSld delSld modSld">
      <pc:chgData name="Michael Godfrey" userId="e06d6e28-5d55-4343-86dc-c6a4780c7cea" providerId="ADAL" clId="{68D28F12-E1E3-453C-8F4A-A0408B892436}" dt="2020-11-20T13:46:57.504" v="97" actId="20577"/>
      <pc:docMkLst>
        <pc:docMk/>
      </pc:docMkLst>
      <pc:sldChg chg="del">
        <pc:chgData name="Michael Godfrey" userId="e06d6e28-5d55-4343-86dc-c6a4780c7cea" providerId="ADAL" clId="{68D28F12-E1E3-453C-8F4A-A0408B892436}" dt="2020-11-20T13:46:20.143" v="61" actId="47"/>
        <pc:sldMkLst>
          <pc:docMk/>
          <pc:sldMk cId="109857222" sldId="256"/>
        </pc:sldMkLst>
      </pc:sldChg>
      <pc:sldChg chg="add">
        <pc:chgData name="Michael Godfrey" userId="e06d6e28-5d55-4343-86dc-c6a4780c7cea" providerId="ADAL" clId="{68D28F12-E1E3-453C-8F4A-A0408B892436}" dt="2020-11-20T13:45:20.103" v="0" actId="22"/>
        <pc:sldMkLst>
          <pc:docMk/>
          <pc:sldMk cId="378403573" sldId="257"/>
        </pc:sldMkLst>
      </pc:sldChg>
      <pc:sldChg chg="add">
        <pc:chgData name="Michael Godfrey" userId="e06d6e28-5d55-4343-86dc-c6a4780c7cea" providerId="ADAL" clId="{68D28F12-E1E3-453C-8F4A-A0408B892436}" dt="2020-11-20T13:45:20.103" v="0" actId="22"/>
        <pc:sldMkLst>
          <pc:docMk/>
          <pc:sldMk cId="1999119977" sldId="258"/>
        </pc:sldMkLst>
      </pc:sldChg>
      <pc:sldChg chg="add">
        <pc:chgData name="Michael Godfrey" userId="e06d6e28-5d55-4343-86dc-c6a4780c7cea" providerId="ADAL" clId="{68D28F12-E1E3-453C-8F4A-A0408B892436}" dt="2020-11-20T13:45:20.103" v="0" actId="22"/>
        <pc:sldMkLst>
          <pc:docMk/>
          <pc:sldMk cId="24414864" sldId="259"/>
        </pc:sldMkLst>
      </pc:sldChg>
      <pc:sldChg chg="add">
        <pc:chgData name="Michael Godfrey" userId="e06d6e28-5d55-4343-86dc-c6a4780c7cea" providerId="ADAL" clId="{68D28F12-E1E3-453C-8F4A-A0408B892436}" dt="2020-11-20T13:45:20.103" v="0" actId="22"/>
        <pc:sldMkLst>
          <pc:docMk/>
          <pc:sldMk cId="1471705805" sldId="260"/>
        </pc:sldMkLst>
      </pc:sldChg>
      <pc:sldChg chg="add">
        <pc:chgData name="Michael Godfrey" userId="e06d6e28-5d55-4343-86dc-c6a4780c7cea" providerId="ADAL" clId="{68D28F12-E1E3-453C-8F4A-A0408B892436}" dt="2020-11-20T13:45:20.103" v="0" actId="22"/>
        <pc:sldMkLst>
          <pc:docMk/>
          <pc:sldMk cId="2034481000" sldId="261"/>
        </pc:sldMkLst>
      </pc:sldChg>
      <pc:sldChg chg="add">
        <pc:chgData name="Michael Godfrey" userId="e06d6e28-5d55-4343-86dc-c6a4780c7cea" providerId="ADAL" clId="{68D28F12-E1E3-453C-8F4A-A0408B892436}" dt="2020-11-20T13:45:20.103" v="0" actId="22"/>
        <pc:sldMkLst>
          <pc:docMk/>
          <pc:sldMk cId="1518821836" sldId="262"/>
        </pc:sldMkLst>
      </pc:sldChg>
      <pc:sldChg chg="add">
        <pc:chgData name="Michael Godfrey" userId="e06d6e28-5d55-4343-86dc-c6a4780c7cea" providerId="ADAL" clId="{68D28F12-E1E3-453C-8F4A-A0408B892436}" dt="2020-11-20T13:45:20.103" v="0" actId="22"/>
        <pc:sldMkLst>
          <pc:docMk/>
          <pc:sldMk cId="3381053836" sldId="263"/>
        </pc:sldMkLst>
      </pc:sldChg>
      <pc:sldChg chg="add">
        <pc:chgData name="Michael Godfrey" userId="e06d6e28-5d55-4343-86dc-c6a4780c7cea" providerId="ADAL" clId="{68D28F12-E1E3-453C-8F4A-A0408B892436}" dt="2020-11-20T13:45:20.103" v="0" actId="22"/>
        <pc:sldMkLst>
          <pc:docMk/>
          <pc:sldMk cId="1795995259" sldId="264"/>
        </pc:sldMkLst>
      </pc:sldChg>
      <pc:sldChg chg="add">
        <pc:chgData name="Michael Godfrey" userId="e06d6e28-5d55-4343-86dc-c6a4780c7cea" providerId="ADAL" clId="{68D28F12-E1E3-453C-8F4A-A0408B892436}" dt="2020-11-20T13:45:20.103" v="0" actId="22"/>
        <pc:sldMkLst>
          <pc:docMk/>
          <pc:sldMk cId="328466890" sldId="265"/>
        </pc:sldMkLst>
      </pc:sldChg>
      <pc:sldChg chg="add">
        <pc:chgData name="Michael Godfrey" userId="e06d6e28-5d55-4343-86dc-c6a4780c7cea" providerId="ADAL" clId="{68D28F12-E1E3-453C-8F4A-A0408B892436}" dt="2020-11-20T13:45:20.103" v="0" actId="22"/>
        <pc:sldMkLst>
          <pc:docMk/>
          <pc:sldMk cId="995807186" sldId="266"/>
        </pc:sldMkLst>
      </pc:sldChg>
      <pc:sldChg chg="add">
        <pc:chgData name="Michael Godfrey" userId="e06d6e28-5d55-4343-86dc-c6a4780c7cea" providerId="ADAL" clId="{68D28F12-E1E3-453C-8F4A-A0408B892436}" dt="2020-11-20T13:45:20.103" v="0" actId="22"/>
        <pc:sldMkLst>
          <pc:docMk/>
          <pc:sldMk cId="1368439808" sldId="267"/>
        </pc:sldMkLst>
      </pc:sldChg>
      <pc:sldChg chg="add">
        <pc:chgData name="Michael Godfrey" userId="e06d6e28-5d55-4343-86dc-c6a4780c7cea" providerId="ADAL" clId="{68D28F12-E1E3-453C-8F4A-A0408B892436}" dt="2020-11-20T13:45:20.103" v="0" actId="22"/>
        <pc:sldMkLst>
          <pc:docMk/>
          <pc:sldMk cId="3887362617" sldId="268"/>
        </pc:sldMkLst>
      </pc:sldChg>
      <pc:sldChg chg="add">
        <pc:chgData name="Michael Godfrey" userId="e06d6e28-5d55-4343-86dc-c6a4780c7cea" providerId="ADAL" clId="{68D28F12-E1E3-453C-8F4A-A0408B892436}" dt="2020-11-20T13:45:20.103" v="0" actId="22"/>
        <pc:sldMkLst>
          <pc:docMk/>
          <pc:sldMk cId="1003169632" sldId="269"/>
        </pc:sldMkLst>
      </pc:sldChg>
      <pc:sldChg chg="add">
        <pc:chgData name="Michael Godfrey" userId="e06d6e28-5d55-4343-86dc-c6a4780c7cea" providerId="ADAL" clId="{68D28F12-E1E3-453C-8F4A-A0408B892436}" dt="2020-11-20T13:45:20.103" v="0" actId="22"/>
        <pc:sldMkLst>
          <pc:docMk/>
          <pc:sldMk cId="3224595149" sldId="270"/>
        </pc:sldMkLst>
      </pc:sldChg>
      <pc:sldChg chg="modSp add mod">
        <pc:chgData name="Michael Godfrey" userId="e06d6e28-5d55-4343-86dc-c6a4780c7cea" providerId="ADAL" clId="{68D28F12-E1E3-453C-8F4A-A0408B892436}" dt="2020-11-20T13:46:10.631" v="60" actId="20577"/>
        <pc:sldMkLst>
          <pc:docMk/>
          <pc:sldMk cId="1314185468" sldId="271"/>
        </pc:sldMkLst>
        <pc:spChg chg="mod">
          <ac:chgData name="Michael Godfrey" userId="e06d6e28-5d55-4343-86dc-c6a4780c7cea" providerId="ADAL" clId="{68D28F12-E1E3-453C-8F4A-A0408B892436}" dt="2020-11-20T13:46:10.631" v="60" actId="20577"/>
          <ac:spMkLst>
            <pc:docMk/>
            <pc:sldMk cId="1314185468" sldId="271"/>
            <ac:spMk id="6" creationId="{3EDD21BD-07F1-4E3D-9A33-9E549FCF56AC}"/>
          </ac:spMkLst>
        </pc:spChg>
      </pc:sldChg>
      <pc:sldChg chg="modSp add mod">
        <pc:chgData name="Michael Godfrey" userId="e06d6e28-5d55-4343-86dc-c6a4780c7cea" providerId="ADAL" clId="{68D28F12-E1E3-453C-8F4A-A0408B892436}" dt="2020-11-20T13:46:41.144" v="91" actId="14100"/>
        <pc:sldMkLst>
          <pc:docMk/>
          <pc:sldMk cId="8867218" sldId="272"/>
        </pc:sldMkLst>
        <pc:spChg chg="mod">
          <ac:chgData name="Michael Godfrey" userId="e06d6e28-5d55-4343-86dc-c6a4780c7cea" providerId="ADAL" clId="{68D28F12-E1E3-453C-8F4A-A0408B892436}" dt="2020-11-20T13:46:41.144" v="91" actId="14100"/>
          <ac:spMkLst>
            <pc:docMk/>
            <pc:sldMk cId="8867218" sldId="272"/>
            <ac:spMk id="2" creationId="{0D571322-9F37-477D-9B5B-EBF49D8B1DE4}"/>
          </ac:spMkLst>
        </pc:spChg>
      </pc:sldChg>
      <pc:sldChg chg="modSp add mod">
        <pc:chgData name="Michael Godfrey" userId="e06d6e28-5d55-4343-86dc-c6a4780c7cea" providerId="ADAL" clId="{68D28F12-E1E3-453C-8F4A-A0408B892436}" dt="2020-11-20T13:46:57.504" v="97" actId="20577"/>
        <pc:sldMkLst>
          <pc:docMk/>
          <pc:sldMk cId="1764949012" sldId="273"/>
        </pc:sldMkLst>
        <pc:spChg chg="mod">
          <ac:chgData name="Michael Godfrey" userId="e06d6e28-5d55-4343-86dc-c6a4780c7cea" providerId="ADAL" clId="{68D28F12-E1E3-453C-8F4A-A0408B892436}" dt="2020-11-20T13:45:57.556" v="24" actId="20577"/>
          <ac:spMkLst>
            <pc:docMk/>
            <pc:sldMk cId="1764949012" sldId="273"/>
            <ac:spMk id="8" creationId="{41E00F15-03D6-46F6-A748-AD469F002750}"/>
          </ac:spMkLst>
        </pc:spChg>
        <pc:spChg chg="mod">
          <ac:chgData name="Michael Godfrey" userId="e06d6e28-5d55-4343-86dc-c6a4780c7cea" providerId="ADAL" clId="{68D28F12-E1E3-453C-8F4A-A0408B892436}" dt="2020-11-20T13:46:46.477" v="92" actId="20577"/>
          <ac:spMkLst>
            <pc:docMk/>
            <pc:sldMk cId="1764949012" sldId="273"/>
            <ac:spMk id="11" creationId="{5625EE11-789D-4477-9C20-E1DCC24D36A1}"/>
          </ac:spMkLst>
        </pc:spChg>
        <pc:spChg chg="mod">
          <ac:chgData name="Michael Godfrey" userId="e06d6e28-5d55-4343-86dc-c6a4780c7cea" providerId="ADAL" clId="{68D28F12-E1E3-453C-8F4A-A0408B892436}" dt="2020-11-20T13:46:48.352" v="93" actId="20577"/>
          <ac:spMkLst>
            <pc:docMk/>
            <pc:sldMk cId="1764949012" sldId="273"/>
            <ac:spMk id="14" creationId="{DD0C4244-C0C5-4FD4-B37B-778131725073}"/>
          </ac:spMkLst>
        </pc:spChg>
        <pc:spChg chg="mod">
          <ac:chgData name="Michael Godfrey" userId="e06d6e28-5d55-4343-86dc-c6a4780c7cea" providerId="ADAL" clId="{68D28F12-E1E3-453C-8F4A-A0408B892436}" dt="2020-11-20T13:46:50.433" v="94" actId="20577"/>
          <ac:spMkLst>
            <pc:docMk/>
            <pc:sldMk cId="1764949012" sldId="273"/>
            <ac:spMk id="18" creationId="{C80E061D-5FBA-4922-AE1B-CA325FF6978B}"/>
          </ac:spMkLst>
        </pc:spChg>
        <pc:spChg chg="mod">
          <ac:chgData name="Michael Godfrey" userId="e06d6e28-5d55-4343-86dc-c6a4780c7cea" providerId="ADAL" clId="{68D28F12-E1E3-453C-8F4A-A0408B892436}" dt="2020-11-20T13:46:51.802" v="95" actId="20577"/>
          <ac:spMkLst>
            <pc:docMk/>
            <pc:sldMk cId="1764949012" sldId="273"/>
            <ac:spMk id="21" creationId="{9727F73E-819C-40B4-BCA5-5A0CAD726D31}"/>
          </ac:spMkLst>
        </pc:spChg>
        <pc:spChg chg="mod">
          <ac:chgData name="Michael Godfrey" userId="e06d6e28-5d55-4343-86dc-c6a4780c7cea" providerId="ADAL" clId="{68D28F12-E1E3-453C-8F4A-A0408B892436}" dt="2020-11-20T13:46:53.824" v="96" actId="20577"/>
          <ac:spMkLst>
            <pc:docMk/>
            <pc:sldMk cId="1764949012" sldId="273"/>
            <ac:spMk id="24" creationId="{6D7EBFC9-106D-400A-BC4D-22444B387601}"/>
          </ac:spMkLst>
        </pc:spChg>
        <pc:spChg chg="mod">
          <ac:chgData name="Michael Godfrey" userId="e06d6e28-5d55-4343-86dc-c6a4780c7cea" providerId="ADAL" clId="{68D28F12-E1E3-453C-8F4A-A0408B892436}" dt="2020-11-20T13:46:57.504" v="97" actId="20577"/>
          <ac:spMkLst>
            <pc:docMk/>
            <pc:sldMk cId="1764949012" sldId="273"/>
            <ac:spMk id="30" creationId="{24C6BAD3-952B-47CA-96B8-02EEB7538422}"/>
          </ac:spMkLst>
        </pc:spChg>
      </pc:sldChg>
      <pc:sldMasterChg chg="addSldLayout modSldLayout">
        <pc:chgData name="Michael Godfrey" userId="e06d6e28-5d55-4343-86dc-c6a4780c7cea" providerId="ADAL" clId="{68D28F12-E1E3-453C-8F4A-A0408B892436}" dt="2020-11-20T13:45:40.040" v="1" actId="22"/>
        <pc:sldMasterMkLst>
          <pc:docMk/>
          <pc:sldMasterMk cId="2460954070" sldId="2147483660"/>
        </pc:sldMasterMkLst>
        <pc:sldLayoutChg chg="add mod">
          <pc:chgData name="Michael Godfrey" userId="e06d6e28-5d55-4343-86dc-c6a4780c7cea" providerId="ADAL" clId="{68D28F12-E1E3-453C-8F4A-A0408B892436}" dt="2020-11-20T13:45:20.103" v="0" actId="22"/>
          <pc:sldLayoutMkLst>
            <pc:docMk/>
            <pc:sldMasterMk cId="2460954070" sldId="2147483660"/>
            <pc:sldLayoutMk cId="2932352270" sldId="2147483672"/>
          </pc:sldLayoutMkLst>
        </pc:sldLayoutChg>
        <pc:sldLayoutChg chg="add mod replId">
          <pc:chgData name="Michael Godfrey" userId="e06d6e28-5d55-4343-86dc-c6a4780c7cea" providerId="ADAL" clId="{68D28F12-E1E3-453C-8F4A-A0408B892436}" dt="2020-11-20T13:45:20.103" v="0" actId="22"/>
          <pc:sldLayoutMkLst>
            <pc:docMk/>
            <pc:sldMasterMk cId="2460954070" sldId="2147483660"/>
            <pc:sldLayoutMk cId="4100778370" sldId="2147483673"/>
          </pc:sldLayoutMkLst>
        </pc:sldLayoutChg>
        <pc:sldLayoutChg chg="add mod">
          <pc:chgData name="Michael Godfrey" userId="e06d6e28-5d55-4343-86dc-c6a4780c7cea" providerId="ADAL" clId="{68D28F12-E1E3-453C-8F4A-A0408B892436}" dt="2020-11-20T13:45:40.040" v="1" actId="22"/>
          <pc:sldLayoutMkLst>
            <pc:docMk/>
            <pc:sldMasterMk cId="2460954070" sldId="2147483660"/>
            <pc:sldLayoutMk cId="1269532802" sldId="2147483674"/>
          </pc:sldLayoutMkLst>
        </pc:sldLayoutChg>
        <pc:sldLayoutChg chg="add mod replId">
          <pc:chgData name="Michael Godfrey" userId="e06d6e28-5d55-4343-86dc-c6a4780c7cea" providerId="ADAL" clId="{68D28F12-E1E3-453C-8F4A-A0408B892436}" dt="2020-11-20T13:45:40.040" v="1" actId="22"/>
          <pc:sldLayoutMkLst>
            <pc:docMk/>
            <pc:sldMasterMk cId="2460954070" sldId="2147483660"/>
            <pc:sldLayoutMk cId="1246246886" sldId="214748367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D52A59-D556-4BFB-9CB8-2C8D81CA64E1}" type="datetimeFigureOut">
              <a:rPr lang="en-US" smtClean="0"/>
              <a:t>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AE9EB0-64C8-48F6-85A9-F9186AFE2DC8}" type="slidenum">
              <a:rPr lang="en-US" smtClean="0"/>
              <a:t>‹#›</a:t>
            </a:fld>
            <a:endParaRPr lang="en-US"/>
          </a:p>
        </p:txBody>
      </p:sp>
    </p:spTree>
    <p:extLst>
      <p:ext uri="{BB962C8B-B14F-4D97-AF65-F5344CB8AC3E}">
        <p14:creationId xmlns:p14="http://schemas.microsoft.com/office/powerpoint/2010/main" val="3485814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a:t>
            </a:fld>
            <a:endParaRPr lang="en-US"/>
          </a:p>
        </p:txBody>
      </p:sp>
      <p:sp>
        <p:nvSpPr>
          <p:cNvPr id="6" name="Date Placeholder 5">
            <a:extLst>
              <a:ext uri="{FF2B5EF4-FFF2-40B4-BE49-F238E27FC236}">
                <a16:creationId xmlns:a16="http://schemas.microsoft.com/office/drawing/2014/main" id="{B5F0A125-1411-481C-8C57-BA8508D6EF94}"/>
              </a:ext>
            </a:extLst>
          </p:cNvPr>
          <p:cNvSpPr>
            <a:spLocks noGrp="1"/>
          </p:cNvSpPr>
          <p:nvPr>
            <p:ph type="dt" idx="12"/>
          </p:nvPr>
        </p:nvSpPr>
        <p:spPr/>
        <p:txBody>
          <a:bodyPr/>
          <a:lstStyle/>
          <a:p>
            <a:fld id="{520EDEF9-34DC-43EF-A96E-E4BC67A143AE}" type="datetime1">
              <a:rPr lang="en-US"/>
              <a:t>2/4/2022</a:t>
            </a:fld>
            <a:endParaRPr lang="en-US"/>
          </a:p>
        </p:txBody>
      </p:sp>
      <p:sp>
        <p:nvSpPr>
          <p:cNvPr id="10" name="Slide Image Placeholder 9">
            <a:extLst>
              <a:ext uri="{FF2B5EF4-FFF2-40B4-BE49-F238E27FC236}">
                <a16:creationId xmlns:a16="http://schemas.microsoft.com/office/drawing/2014/main" id="{E2E78E2F-5A11-492B-863A-333FCB8BF99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F562AF71-297A-4E14-905B-9BC87AF9311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E3E3E3"/>
                </a:solidFill>
                <a:effectLst/>
                <a:latin typeface="Segoe UI" panose="020B0502040204020203" pitchFamily="34" charset="0"/>
              </a:rPr>
              <a:t>The Hyper-V role in Azure Stack HCI OS lets you create a virtualized computing environment where you can create and manage virtual machines. You can run multiple operating systems on one physical computer and isolate the operating systems from each other. With this technology, you can improve the efficiency of your computing resources and free up your hardware resources.</a:t>
            </a:r>
            <a:endPar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a:p>
            <a:endParaRPr lang="en-US">
              <a:latin typeface="+mn-lt"/>
            </a:endParaRPr>
          </a:p>
          <a:p>
            <a:endParaRPr lang="en-US">
              <a:latin typeface="+mn-lt"/>
            </a:endParaRPr>
          </a:p>
          <a:p>
            <a:endParaRPr lang="en-US">
              <a:latin typeface="+mn-lt"/>
            </a:endParaRPr>
          </a:p>
          <a:p>
            <a:r>
              <a:rPr lang="en-US">
                <a:latin typeface="+mn-lt"/>
              </a:rPr>
              <a:t>Trainers:  Throughout this module, make sure to emphasize that this section applies to both Azure Stack HCI as well as Windows Server with Hyper-V. </a:t>
            </a:r>
          </a:p>
          <a:p>
            <a:r>
              <a:rPr lang="en-US">
                <a:latin typeface="+mn-lt"/>
              </a:rPr>
              <a:t>#########</a:t>
            </a:r>
          </a:p>
        </p:txBody>
      </p:sp>
      <p:sp>
        <p:nvSpPr>
          <p:cNvPr id="2" name="Header Placeholder 1">
            <a:extLst>
              <a:ext uri="{FF2B5EF4-FFF2-40B4-BE49-F238E27FC236}">
                <a16:creationId xmlns:a16="http://schemas.microsoft.com/office/drawing/2014/main" id="{EE816882-27D1-47C1-B2DF-390182831B4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865382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lstStyle/>
          <a:p>
            <a:r>
              <a:rPr lang="en-US"/>
              <a:t>Depending on hardware design and amount of RAM per NUMA node might not be possible to have </a:t>
            </a:r>
            <a:r>
              <a:rPr lang="en-US" sz="1050" b="0"/>
              <a:t>Remote Run Time near 0.</a:t>
            </a:r>
            <a:endParaRPr lang="en-US"/>
          </a:p>
        </p:txBody>
      </p:sp>
      <p:sp>
        <p:nvSpPr>
          <p:cNvPr id="4" name="Slide Number Placeholder 3"/>
          <p:cNvSpPr>
            <a:spLocks noGrp="1"/>
          </p:cNvSpPr>
          <p:nvPr>
            <p:ph type="sldNum" sz="quarter" idx="10"/>
          </p:nvPr>
        </p:nvSpPr>
        <p:spPr/>
        <p:txBody>
          <a:bodyPr/>
          <a:lstStyle/>
          <a:p>
            <a:fld id="{B2359B00-A78D-479C-A2FE-77AF006E7A8C}" type="slidenum">
              <a:rPr lang="de-DE" smtClean="0"/>
              <a:t>12</a:t>
            </a:fld>
            <a:endParaRPr lang="de-DE"/>
          </a:p>
        </p:txBody>
      </p:sp>
    </p:spTree>
    <p:extLst>
      <p:ext uri="{BB962C8B-B14F-4D97-AF65-F5344CB8AC3E}">
        <p14:creationId xmlns:p14="http://schemas.microsoft.com/office/powerpoint/2010/main" val="3476591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lstStyle/>
          <a:p>
            <a:r>
              <a:rPr lang="en-GB"/>
              <a:t>Pressure thresholds assume default VM reserve of 20%</a:t>
            </a:r>
          </a:p>
          <a:p>
            <a:r>
              <a:rPr lang="en-GB"/>
              <a:t>For Static memory VMs, you will see the current memory consumption within the VM from the HOST view.</a:t>
            </a:r>
          </a:p>
        </p:txBody>
      </p:sp>
      <p:sp>
        <p:nvSpPr>
          <p:cNvPr id="4" name="Slide Number Placeholder 3"/>
          <p:cNvSpPr>
            <a:spLocks noGrp="1"/>
          </p:cNvSpPr>
          <p:nvPr>
            <p:ph type="sldNum" sz="quarter" idx="10"/>
          </p:nvPr>
        </p:nvSpPr>
        <p:spPr/>
        <p:txBody>
          <a:bodyPr/>
          <a:lstStyle/>
          <a:p>
            <a:fld id="{E7431303-7CE2-494C-AE87-4E68EA946351}" type="slidenum">
              <a:rPr lang="en-US" smtClean="0"/>
              <a:t>13</a:t>
            </a:fld>
            <a:endParaRPr lang="en-US"/>
          </a:p>
        </p:txBody>
      </p:sp>
    </p:spTree>
    <p:extLst>
      <p:ext uri="{BB962C8B-B14F-4D97-AF65-F5344CB8AC3E}">
        <p14:creationId xmlns:p14="http://schemas.microsoft.com/office/powerpoint/2010/main" val="22142012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lstStyle/>
          <a:p>
            <a:r>
              <a:rPr lang="en-GB"/>
              <a:t>Pressure thresholds assume default VM reserve of 20%</a:t>
            </a:r>
          </a:p>
          <a:p>
            <a:r>
              <a:rPr lang="en-GB"/>
              <a:t>New Counters in 2016/2019</a:t>
            </a:r>
          </a:p>
          <a:p>
            <a:r>
              <a:rPr lang="en-GB"/>
              <a:t>\Hyper-V Dynamic Memory VM(*)\Memory Remove Operations</a:t>
            </a:r>
          </a:p>
          <a:p>
            <a:r>
              <a:rPr lang="en-GB"/>
              <a:t>\Hyper-V Dynamic Memory VM(*)\Removed Memory</a:t>
            </a:r>
          </a:p>
          <a:p>
            <a:r>
              <a:rPr lang="en-GB"/>
              <a:t>\Hyper-V Dynamic Memory VM(*)\Memory Add Operations</a:t>
            </a:r>
          </a:p>
          <a:p>
            <a:r>
              <a:rPr lang="en-GB"/>
              <a:t>\Hyper-V Dynamic Memory VM(*)\Added Memory</a:t>
            </a:r>
          </a:p>
          <a:p>
            <a:endParaRPr lang="en-GB"/>
          </a:p>
        </p:txBody>
      </p:sp>
      <p:sp>
        <p:nvSpPr>
          <p:cNvPr id="4" name="Slide Number Placeholder 3"/>
          <p:cNvSpPr>
            <a:spLocks noGrp="1"/>
          </p:cNvSpPr>
          <p:nvPr>
            <p:ph type="sldNum" sz="quarter" idx="10"/>
          </p:nvPr>
        </p:nvSpPr>
        <p:spPr/>
        <p:txBody>
          <a:bodyPr/>
          <a:lstStyle/>
          <a:p>
            <a:fld id="{E7431303-7CE2-494C-AE87-4E68EA946351}" type="slidenum">
              <a:rPr lang="en-US" smtClean="0"/>
              <a:t>14</a:t>
            </a:fld>
            <a:endParaRPr lang="en-US"/>
          </a:p>
        </p:txBody>
      </p:sp>
    </p:spTree>
    <p:extLst>
      <p:ext uri="{BB962C8B-B14F-4D97-AF65-F5344CB8AC3E}">
        <p14:creationId xmlns:p14="http://schemas.microsoft.com/office/powerpoint/2010/main" val="448638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lstStyle/>
          <a:p>
            <a:pPr lvl="0"/>
            <a:r>
              <a:rPr lang="en-US">
                <a:solidFill>
                  <a:prstClr val="black"/>
                </a:solidFill>
              </a:rPr>
              <a:t>In the </a:t>
            </a:r>
            <a:r>
              <a:rPr lang="en-US" b="1">
                <a:solidFill>
                  <a:prstClr val="black"/>
                </a:solidFill>
              </a:rPr>
              <a:t>Server Manager</a:t>
            </a:r>
            <a:r>
              <a:rPr lang="en-US">
                <a:solidFill>
                  <a:prstClr val="black"/>
                </a:solidFill>
              </a:rPr>
              <a:t> interface, click the </a:t>
            </a:r>
            <a:r>
              <a:rPr lang="en-US" b="1">
                <a:solidFill>
                  <a:prstClr val="black"/>
                </a:solidFill>
              </a:rPr>
              <a:t>Hyper-V</a:t>
            </a:r>
            <a:r>
              <a:rPr lang="en-US">
                <a:solidFill>
                  <a:prstClr val="black"/>
                </a:solidFill>
              </a:rPr>
              <a:t> page. This displays all Hyper-V servers in the domain, provided they have been added to the </a:t>
            </a:r>
            <a:r>
              <a:rPr lang="en-US" b="1">
                <a:solidFill>
                  <a:prstClr val="black"/>
                </a:solidFill>
              </a:rPr>
              <a:t>All Servers</a:t>
            </a:r>
            <a:r>
              <a:rPr lang="en-US">
                <a:solidFill>
                  <a:prstClr val="black"/>
                </a:solidFill>
              </a:rPr>
              <a:t> page in the navigation pane. Each Hyper-V server has multiple </a:t>
            </a:r>
            <a:r>
              <a:rPr lang="en-US" i="1">
                <a:solidFill>
                  <a:prstClr val="black"/>
                </a:solidFill>
              </a:rPr>
              <a:t>Tiles</a:t>
            </a:r>
            <a:r>
              <a:rPr lang="en-US">
                <a:solidFill>
                  <a:prstClr val="black"/>
                </a:solidFill>
              </a:rPr>
              <a:t> associated with it. The </a:t>
            </a:r>
            <a:r>
              <a:rPr lang="en-US" b="1">
                <a:solidFill>
                  <a:prstClr val="black"/>
                </a:solidFill>
              </a:rPr>
              <a:t>Events </a:t>
            </a:r>
            <a:r>
              <a:rPr lang="en-US">
                <a:solidFill>
                  <a:prstClr val="black"/>
                </a:solidFill>
              </a:rPr>
              <a:t>Tile displays a list of events from the Hyper-V Event Logs.</a:t>
            </a:r>
          </a:p>
          <a:p>
            <a:endParaRPr lang="en-US"/>
          </a:p>
        </p:txBody>
      </p:sp>
      <p:sp>
        <p:nvSpPr>
          <p:cNvPr id="4" name="Slide Number Placeholder 1"/>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7431303-7CE2-494C-AE87-4E68EA946351}" type="slidenum">
              <a:rPr lang="en-US" smtClean="0"/>
              <a:t>15</a:t>
            </a:fld>
            <a:endParaRPr lang="en-US"/>
          </a:p>
        </p:txBody>
      </p:sp>
    </p:spTree>
    <p:extLst>
      <p:ext uri="{BB962C8B-B14F-4D97-AF65-F5344CB8AC3E}">
        <p14:creationId xmlns:p14="http://schemas.microsoft.com/office/powerpoint/2010/main" val="14733865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normAutofit fontScale="92500" lnSpcReduction="10000"/>
          </a:bodyPr>
          <a:lstStyle/>
          <a:p>
            <a:pPr lvl="0"/>
            <a:r>
              <a:rPr lang="en-US" b="1">
                <a:solidFill>
                  <a:prstClr val="black"/>
                </a:solidFill>
              </a:rPr>
              <a:t>Event Logs in Event Viewer</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 </a:t>
            </a:r>
            <a:r>
              <a:rPr lang="en-NZ" i="1" err="1">
                <a:solidFill>
                  <a:prstClr val="black"/>
                </a:solidFill>
              </a:rPr>
              <a:t>Config</a:t>
            </a:r>
            <a:r>
              <a:rPr lang="en-NZ">
                <a:solidFill>
                  <a:prstClr val="black"/>
                </a:solidFill>
              </a:rPr>
              <a:t>—events are logged here that relate to problems accessing a virtual machine’s configuration file</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High-Availability</a:t>
            </a:r>
            <a:r>
              <a:rPr lang="en-NZ">
                <a:solidFill>
                  <a:prstClr val="black"/>
                </a:solidFill>
              </a:rPr>
              <a:t>—events are logged here that relate to Live and Quick migration events in Hyper-V Failover Cluster</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Hypervisor</a:t>
            </a:r>
            <a:r>
              <a:rPr lang="en-NZ">
                <a:solidFill>
                  <a:prstClr val="black"/>
                </a:solidFill>
              </a:rPr>
              <a:t>—events are logged here that relate to problems with the hypervisor itself, or if the hypervisor fails to load because of a problem. If the hypervisor does not load because hardware virtualization is not enabled in the BIOS, the event will not be logged here</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Integration</a:t>
            </a:r>
            <a:r>
              <a:rPr lang="en-NZ">
                <a:solidFill>
                  <a:prstClr val="black"/>
                </a:solidFill>
              </a:rPr>
              <a:t>—events are logged here that relate to problems with the integrated components</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a:t>
            </a:r>
            <a:r>
              <a:rPr lang="en-NZ" i="1" err="1">
                <a:solidFill>
                  <a:prstClr val="black"/>
                </a:solidFill>
              </a:rPr>
              <a:t>SynthFC</a:t>
            </a:r>
            <a:r>
              <a:rPr lang="en-NZ">
                <a:solidFill>
                  <a:prstClr val="black"/>
                </a:solidFill>
              </a:rPr>
              <a:t>—events are logged here if there is a problem with connectivity using synthetic fibre channel in the virtual machine</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a:t>
            </a:r>
            <a:r>
              <a:rPr lang="en-NZ" i="1" err="1">
                <a:solidFill>
                  <a:prstClr val="black"/>
                </a:solidFill>
              </a:rPr>
              <a:t>SynthNic</a:t>
            </a:r>
            <a:r>
              <a:rPr lang="en-NZ">
                <a:solidFill>
                  <a:prstClr val="black"/>
                </a:solidFill>
              </a:rPr>
              <a:t>—events are logged here if there is a problem with connectivity with the virtual machine network adapter(s)</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a:t>
            </a:r>
            <a:r>
              <a:rPr lang="en-NZ" i="1" err="1">
                <a:solidFill>
                  <a:prstClr val="black"/>
                </a:solidFill>
              </a:rPr>
              <a:t>SynthStor</a:t>
            </a:r>
            <a:r>
              <a:rPr lang="en-NZ">
                <a:solidFill>
                  <a:prstClr val="black"/>
                </a:solidFill>
              </a:rPr>
              <a:t>—events are logged here that relate to any storage issues when using the synthetic storage driver</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VID</a:t>
            </a:r>
            <a:r>
              <a:rPr lang="en-NZ">
                <a:solidFill>
                  <a:prstClr val="black"/>
                </a:solidFill>
              </a:rPr>
              <a:t>—events in this log relate to the parent partition, virtual processor, and memory management services</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VMMS</a:t>
            </a:r>
            <a:r>
              <a:rPr lang="en-NZ">
                <a:solidFill>
                  <a:prstClr val="black"/>
                </a:solidFill>
              </a:rPr>
              <a:t>—events are logged here that relate to the components running in the Virtual Machine Management Service</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a:t>
            </a:r>
            <a:r>
              <a:rPr lang="en-NZ" i="1" err="1">
                <a:solidFill>
                  <a:prstClr val="black"/>
                </a:solidFill>
              </a:rPr>
              <a:t>VmSwitch</a:t>
            </a:r>
            <a:r>
              <a:rPr lang="en-NZ">
                <a:solidFill>
                  <a:prstClr val="black"/>
                </a:solidFill>
              </a:rPr>
              <a:t>—events are logged here that relate to the virtual switch</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Worker</a:t>
            </a:r>
            <a:r>
              <a:rPr lang="en-NZ">
                <a:solidFill>
                  <a:prstClr val="black"/>
                </a:solidFill>
              </a:rPr>
              <a:t>—events are logged here that relate to the worker processes functionality</a:t>
            </a:r>
            <a:endParaRPr lang="en-US">
              <a:solidFill>
                <a:prstClr val="black"/>
              </a:solidFill>
            </a:endParaRPr>
          </a:p>
          <a:p>
            <a:pPr marL="171450" lvl="0" indent="-171450">
              <a:spcAft>
                <a:spcPts val="400"/>
              </a:spcAft>
              <a:buFont typeface="Arial" pitchFamily="34" charset="0"/>
              <a:buChar char="•"/>
            </a:pPr>
            <a:endParaRPr lang="en-US" sz="1200">
              <a:latin typeface="Segoe UI" pitchFamily="34" charset="0"/>
              <a:ea typeface="Segoe UI" pitchFamily="34" charset="0"/>
              <a:cs typeface="Segoe UI" pitchFamily="34" charset="0"/>
            </a:endParaRPr>
          </a:p>
          <a:p>
            <a:endParaRPr lang="en-US"/>
          </a:p>
        </p:txBody>
      </p:sp>
      <p:sp>
        <p:nvSpPr>
          <p:cNvPr id="4" name="Slide Number Placeholder 1"/>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7431303-7CE2-494C-AE87-4E68EA946351}" type="slidenum">
              <a:rPr lang="en-US" smtClean="0"/>
              <a:t>16</a:t>
            </a:fld>
            <a:endParaRPr lang="en-US"/>
          </a:p>
        </p:txBody>
      </p:sp>
    </p:spTree>
    <p:extLst>
      <p:ext uri="{BB962C8B-B14F-4D97-AF65-F5344CB8AC3E}">
        <p14:creationId xmlns:p14="http://schemas.microsoft.com/office/powerpoint/2010/main" val="26619045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normAutofit fontScale="92500" lnSpcReduction="10000"/>
          </a:bodyPr>
          <a:lstStyle/>
          <a:p>
            <a:pPr lvl="0"/>
            <a:r>
              <a:rPr lang="en-US" b="1">
                <a:solidFill>
                  <a:prstClr val="black"/>
                </a:solidFill>
              </a:rPr>
              <a:t>Event Logs in Event Viewer</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 </a:t>
            </a:r>
            <a:r>
              <a:rPr lang="en-NZ" i="1" err="1">
                <a:solidFill>
                  <a:prstClr val="black"/>
                </a:solidFill>
              </a:rPr>
              <a:t>Config</a:t>
            </a:r>
            <a:r>
              <a:rPr lang="en-NZ">
                <a:solidFill>
                  <a:prstClr val="black"/>
                </a:solidFill>
              </a:rPr>
              <a:t>—events are logged here that relate to problems accessing a virtual machine’s configuration file</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High-Availability</a:t>
            </a:r>
            <a:r>
              <a:rPr lang="en-NZ">
                <a:solidFill>
                  <a:prstClr val="black"/>
                </a:solidFill>
              </a:rPr>
              <a:t>—events are logged here that relate to Live and Quick migration events in Hyper-V Failover Cluster</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Hypervisor</a:t>
            </a:r>
            <a:r>
              <a:rPr lang="en-NZ">
                <a:solidFill>
                  <a:prstClr val="black"/>
                </a:solidFill>
              </a:rPr>
              <a:t>—events are logged here that relate to problems with the hypervisor itself, or if the hypervisor fails to load because of a problem. If the hypervisor does not load because hardware virtualization is not enabled in the BIOS, the event will not be logged here</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Integration</a:t>
            </a:r>
            <a:r>
              <a:rPr lang="en-NZ">
                <a:solidFill>
                  <a:prstClr val="black"/>
                </a:solidFill>
              </a:rPr>
              <a:t>—events are logged here that relate to problems with the integrated components</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a:t>
            </a:r>
            <a:r>
              <a:rPr lang="en-NZ" i="1" err="1">
                <a:solidFill>
                  <a:prstClr val="black"/>
                </a:solidFill>
              </a:rPr>
              <a:t>SynthFC</a:t>
            </a:r>
            <a:r>
              <a:rPr lang="en-NZ">
                <a:solidFill>
                  <a:prstClr val="black"/>
                </a:solidFill>
              </a:rPr>
              <a:t>—events are logged here if there is a problem with connectivity using synthetic fibre channel in the virtual machine</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a:t>
            </a:r>
            <a:r>
              <a:rPr lang="en-NZ" i="1" err="1">
                <a:solidFill>
                  <a:prstClr val="black"/>
                </a:solidFill>
              </a:rPr>
              <a:t>SynthNic</a:t>
            </a:r>
            <a:r>
              <a:rPr lang="en-NZ">
                <a:solidFill>
                  <a:prstClr val="black"/>
                </a:solidFill>
              </a:rPr>
              <a:t>—events are logged here if there is a problem with connectivity with the virtual machine network adapter(s)</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a:t>
            </a:r>
            <a:r>
              <a:rPr lang="en-NZ" i="1" err="1">
                <a:solidFill>
                  <a:prstClr val="black"/>
                </a:solidFill>
              </a:rPr>
              <a:t>SynthStor</a:t>
            </a:r>
            <a:r>
              <a:rPr lang="en-NZ">
                <a:solidFill>
                  <a:prstClr val="black"/>
                </a:solidFill>
              </a:rPr>
              <a:t>—events are logged here that relate to any storage issues when using the synthetic storage driver</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VID</a:t>
            </a:r>
            <a:r>
              <a:rPr lang="en-NZ">
                <a:solidFill>
                  <a:prstClr val="black"/>
                </a:solidFill>
              </a:rPr>
              <a:t>—events in this log relate to the parent partition, virtual processor, and memory management services</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VMMS</a:t>
            </a:r>
            <a:r>
              <a:rPr lang="en-NZ">
                <a:solidFill>
                  <a:prstClr val="black"/>
                </a:solidFill>
              </a:rPr>
              <a:t>—events are logged here that relate to the components running in the Virtual Machine Management Service</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a:t>
            </a:r>
            <a:r>
              <a:rPr lang="en-NZ" i="1" err="1">
                <a:solidFill>
                  <a:prstClr val="black"/>
                </a:solidFill>
              </a:rPr>
              <a:t>VmSwitch</a:t>
            </a:r>
            <a:r>
              <a:rPr lang="en-NZ">
                <a:solidFill>
                  <a:prstClr val="black"/>
                </a:solidFill>
              </a:rPr>
              <a:t>—events are logged here that relate to the virtual switch</a:t>
            </a:r>
            <a:endParaRPr lang="en-US">
              <a:solidFill>
                <a:prstClr val="black"/>
              </a:solidFill>
            </a:endParaRPr>
          </a:p>
          <a:p>
            <a:pPr marL="171450" lvl="0" indent="-171450">
              <a:buFont typeface="Arial" panose="020B0604020202020204" pitchFamily="34" charset="0"/>
              <a:buChar char="•"/>
            </a:pPr>
            <a:r>
              <a:rPr lang="en-NZ" i="1">
                <a:solidFill>
                  <a:prstClr val="black"/>
                </a:solidFill>
              </a:rPr>
              <a:t>Hyper-V-Worker</a:t>
            </a:r>
            <a:r>
              <a:rPr lang="en-NZ">
                <a:solidFill>
                  <a:prstClr val="black"/>
                </a:solidFill>
              </a:rPr>
              <a:t>—events are logged here that relate to the worker processes functionality</a:t>
            </a:r>
            <a:endParaRPr lang="en-US">
              <a:solidFill>
                <a:prstClr val="black"/>
              </a:solidFill>
            </a:endParaRPr>
          </a:p>
          <a:p>
            <a:pPr marL="171450" lvl="0" indent="-171450">
              <a:spcAft>
                <a:spcPts val="400"/>
              </a:spcAft>
              <a:buFont typeface="Arial" pitchFamily="34" charset="0"/>
              <a:buChar char="•"/>
            </a:pPr>
            <a:endParaRPr lang="en-US" sz="1200">
              <a:latin typeface="Segoe UI" pitchFamily="34" charset="0"/>
              <a:ea typeface="Segoe UI" pitchFamily="34" charset="0"/>
              <a:cs typeface="Segoe UI" pitchFamily="34" charset="0"/>
            </a:endParaRPr>
          </a:p>
          <a:p>
            <a:endParaRPr lang="en-US"/>
          </a:p>
        </p:txBody>
      </p:sp>
      <p:sp>
        <p:nvSpPr>
          <p:cNvPr id="4" name="Slide Number Placeholder 1"/>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7431303-7CE2-494C-AE87-4E68EA946351}" type="slidenum">
              <a:rPr lang="en-US" smtClean="0"/>
              <a:t>17</a:t>
            </a:fld>
            <a:endParaRPr lang="en-US"/>
          </a:p>
        </p:txBody>
      </p:sp>
    </p:spTree>
    <p:extLst>
      <p:ext uri="{BB962C8B-B14F-4D97-AF65-F5344CB8AC3E}">
        <p14:creationId xmlns:p14="http://schemas.microsoft.com/office/powerpoint/2010/main" val="2050036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a:t>
            </a:fld>
            <a:endParaRPr lang="en-US"/>
          </a:p>
        </p:txBody>
      </p:sp>
      <p:sp>
        <p:nvSpPr>
          <p:cNvPr id="6" name="Date Placeholder 5">
            <a:extLst>
              <a:ext uri="{FF2B5EF4-FFF2-40B4-BE49-F238E27FC236}">
                <a16:creationId xmlns:a16="http://schemas.microsoft.com/office/drawing/2014/main" id="{B5F0A125-1411-481C-8C57-BA8508D6EF94}"/>
              </a:ext>
            </a:extLst>
          </p:cNvPr>
          <p:cNvSpPr>
            <a:spLocks noGrp="1"/>
          </p:cNvSpPr>
          <p:nvPr>
            <p:ph type="dt" idx="12"/>
          </p:nvPr>
        </p:nvSpPr>
        <p:spPr/>
        <p:txBody>
          <a:bodyPr/>
          <a:lstStyle/>
          <a:p>
            <a:fld id="{520EDEF9-34DC-43EF-A96E-E4BC67A143AE}" type="datetime1">
              <a:rPr lang="en-US" smtClean="0"/>
              <a:t>2/4/2022</a:t>
            </a:fld>
            <a:endParaRPr lang="en-US"/>
          </a:p>
        </p:txBody>
      </p:sp>
      <p:sp>
        <p:nvSpPr>
          <p:cNvPr id="10" name="Slide Image Placeholder 9">
            <a:extLst>
              <a:ext uri="{FF2B5EF4-FFF2-40B4-BE49-F238E27FC236}">
                <a16:creationId xmlns:a16="http://schemas.microsoft.com/office/drawing/2014/main" id="{E2E78E2F-5A11-492B-863A-333FCB8BF99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F562AF71-297A-4E14-905B-9BC87AF9311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EE816882-27D1-47C1-B2DF-390182831B4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3555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The goal of this section is to help you understand exactly what virtualization is, to understand the different layers of virtualizations and the core functionality of the technology.</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a:t>2/4/2022 11:0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a:pPr/>
              <a:t>4</a:t>
            </a:fld>
            <a:endParaRPr lang="en-US"/>
          </a:p>
        </p:txBody>
      </p:sp>
    </p:spTree>
    <p:extLst>
      <p:ext uri="{BB962C8B-B14F-4D97-AF65-F5344CB8AC3E}">
        <p14:creationId xmlns:p14="http://schemas.microsoft.com/office/powerpoint/2010/main" val="3313481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lstStyle/>
          <a:p>
            <a:r>
              <a:rPr lang="en-GB"/>
              <a:t>All thresholds represent most common defaults. In real life they will depend specific environment</a:t>
            </a:r>
          </a:p>
          <a:p>
            <a:endParaRPr lang="en-GB"/>
          </a:p>
        </p:txBody>
      </p:sp>
      <p:sp>
        <p:nvSpPr>
          <p:cNvPr id="4" name="Slide Number Placeholder 3"/>
          <p:cNvSpPr>
            <a:spLocks noGrp="1"/>
          </p:cNvSpPr>
          <p:nvPr>
            <p:ph type="sldNum" sz="quarter" idx="10"/>
          </p:nvPr>
        </p:nvSpPr>
        <p:spPr/>
        <p:txBody>
          <a:bodyPr/>
          <a:lstStyle/>
          <a:p>
            <a:fld id="{E7431303-7CE2-494C-AE87-4E68EA946351}" type="slidenum">
              <a:rPr lang="en-US" smtClean="0"/>
              <a:t>6</a:t>
            </a:fld>
            <a:endParaRPr lang="en-US"/>
          </a:p>
        </p:txBody>
      </p:sp>
    </p:spTree>
    <p:extLst>
      <p:ext uri="{BB962C8B-B14F-4D97-AF65-F5344CB8AC3E}">
        <p14:creationId xmlns:p14="http://schemas.microsoft.com/office/powerpoint/2010/main" val="9614718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lstStyle/>
          <a:p>
            <a:pPr>
              <a:lnSpc>
                <a:spcPct val="115000"/>
              </a:lnSpc>
            </a:pPr>
            <a:r>
              <a:rPr lang="en-US" b="1">
                <a:solidFill>
                  <a:srgbClr val="000000"/>
                </a:solidFill>
                <a:latin typeface="Segoe UI"/>
              </a:rPr>
              <a:t>\Hyper-V Hypervisor Logical Processor\Context Switches/Sec</a:t>
            </a:r>
            <a:endParaRPr lang="en-GB">
              <a:latin typeface="+mn-lt"/>
              <a:ea typeface="Calibri"/>
              <a:cs typeface="Times New Roman"/>
            </a:endParaRPr>
          </a:p>
          <a:p>
            <a:pPr>
              <a:lnSpc>
                <a:spcPct val="115000"/>
              </a:lnSpc>
            </a:pPr>
            <a:r>
              <a:rPr lang="en-US">
                <a:solidFill>
                  <a:srgbClr val="000000"/>
                </a:solidFill>
              </a:rPr>
              <a:t>Is the number of context switches made for switching out/in the VM virtual processors. . This does not keep into account the number of context switches made by the threads running in the host OS</a:t>
            </a:r>
            <a:endParaRPr lang="en-GB">
              <a:latin typeface="+mn-lt"/>
              <a:ea typeface="Calibri"/>
              <a:cs typeface="Times New Roman"/>
            </a:endParaRPr>
          </a:p>
          <a:p>
            <a:pPr>
              <a:lnSpc>
                <a:spcPct val="115000"/>
              </a:lnSpc>
            </a:pPr>
            <a:r>
              <a:rPr lang="en-US">
                <a:solidFill>
                  <a:srgbClr val="000000"/>
                </a:solidFill>
              </a:rPr>
              <a:t>Any context switch made in the host OS’s scheduler will be accounted for in this counter.</a:t>
            </a:r>
            <a:endParaRPr lang="en-GB">
              <a:latin typeface="+mn-lt"/>
              <a:ea typeface="Calibri"/>
              <a:cs typeface="Times New Roman"/>
            </a:endParaRPr>
          </a:p>
          <a:p>
            <a:pPr>
              <a:lnSpc>
                <a:spcPct val="115000"/>
              </a:lnSpc>
            </a:pPr>
            <a:r>
              <a:rPr lang="en-US">
                <a:solidFill>
                  <a:srgbClr val="000000"/>
                </a:solidFill>
              </a:rPr>
              <a:t>The </a:t>
            </a:r>
            <a:r>
              <a:rPr lang="en-US" i="1">
                <a:solidFill>
                  <a:srgbClr val="000000"/>
                </a:solidFill>
              </a:rPr>
              <a:t>\Hyper-V Hypervisor Logical Processor\Context Switches/sec</a:t>
            </a:r>
            <a:r>
              <a:rPr lang="en-US">
                <a:solidFill>
                  <a:srgbClr val="000000"/>
                </a:solidFill>
              </a:rPr>
              <a:t> will not be part of the context switches you see in the \</a:t>
            </a:r>
            <a:r>
              <a:rPr lang="en-US" i="1">
                <a:solidFill>
                  <a:srgbClr val="000000"/>
                </a:solidFill>
              </a:rPr>
              <a:t>System\Context Switches/sec</a:t>
            </a:r>
            <a:r>
              <a:rPr lang="en-US">
                <a:solidFill>
                  <a:srgbClr val="000000"/>
                </a:solidFill>
              </a:rPr>
              <a:t> counter.</a:t>
            </a:r>
            <a:endParaRPr lang="en-GB">
              <a:latin typeface="+mn-lt"/>
              <a:ea typeface="Calibri"/>
              <a:cs typeface="Times New Roman"/>
            </a:endParaRPr>
          </a:p>
        </p:txBody>
      </p:sp>
      <p:sp>
        <p:nvSpPr>
          <p:cNvPr id="4" name="Slide Number Placeholder 3"/>
          <p:cNvSpPr>
            <a:spLocks noGrp="1"/>
          </p:cNvSpPr>
          <p:nvPr>
            <p:ph type="sldNum" sz="quarter" idx="10"/>
          </p:nvPr>
        </p:nvSpPr>
        <p:spPr/>
        <p:txBody>
          <a:bodyPr/>
          <a:lstStyle/>
          <a:p>
            <a:fld id="{B2359B00-A78D-479C-A2FE-77AF006E7A8C}" type="slidenum">
              <a:rPr lang="de-DE" smtClean="0"/>
              <a:t>7</a:t>
            </a:fld>
            <a:endParaRPr lang="de-DE"/>
          </a:p>
        </p:txBody>
      </p:sp>
    </p:spTree>
    <p:extLst>
      <p:ext uri="{BB962C8B-B14F-4D97-AF65-F5344CB8AC3E}">
        <p14:creationId xmlns:p14="http://schemas.microsoft.com/office/powerpoint/2010/main" val="2846762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31303-7CE2-494C-AE87-4E68EA946351}" type="slidenum">
              <a:rPr lang="en-US" smtClean="0"/>
              <a:t>8</a:t>
            </a:fld>
            <a:endParaRPr lang="en-US"/>
          </a:p>
        </p:txBody>
      </p:sp>
    </p:spTree>
    <p:extLst>
      <p:ext uri="{BB962C8B-B14F-4D97-AF65-F5344CB8AC3E}">
        <p14:creationId xmlns:p14="http://schemas.microsoft.com/office/powerpoint/2010/main" val="1337436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31303-7CE2-494C-AE87-4E68EA946351}" type="slidenum">
              <a:rPr lang="en-US" smtClean="0"/>
              <a:t>9</a:t>
            </a:fld>
            <a:endParaRPr lang="en-US"/>
          </a:p>
        </p:txBody>
      </p:sp>
    </p:spTree>
    <p:extLst>
      <p:ext uri="{BB962C8B-B14F-4D97-AF65-F5344CB8AC3E}">
        <p14:creationId xmlns:p14="http://schemas.microsoft.com/office/powerpoint/2010/main" val="3314947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2359B00-A78D-479C-A2FE-77AF006E7A8C}" type="slidenum">
              <a:rPr lang="de-DE" smtClean="0"/>
              <a:t>10</a:t>
            </a:fld>
            <a:endParaRPr lang="de-DE"/>
          </a:p>
        </p:txBody>
      </p:sp>
    </p:spTree>
    <p:extLst>
      <p:ext uri="{BB962C8B-B14F-4D97-AF65-F5344CB8AC3E}">
        <p14:creationId xmlns:p14="http://schemas.microsoft.com/office/powerpoint/2010/main" val="23095193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4412"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31303-7CE2-494C-AE87-4E68EA946351}" type="slidenum">
              <a:rPr lang="en-US" smtClean="0"/>
              <a:t>11</a:t>
            </a:fld>
            <a:endParaRPr lang="en-US"/>
          </a:p>
        </p:txBody>
      </p:sp>
    </p:spTree>
    <p:extLst>
      <p:ext uri="{BB962C8B-B14F-4D97-AF65-F5344CB8AC3E}">
        <p14:creationId xmlns:p14="http://schemas.microsoft.com/office/powerpoint/2010/main" val="36963554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2352270"/>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077837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Geo 4">
    <p:bg>
      <p:bgPr>
        <a:solidFill>
          <a:schemeClr val="bg1"/>
        </a:solidFill>
        <a:effectLst/>
      </p:bgPr>
    </p:bg>
    <p:spTree>
      <p:nvGrpSpPr>
        <p:cNvPr id="1" name=""/>
        <p:cNvGrpSpPr/>
        <p:nvPr/>
      </p:nvGrpSpPr>
      <p:grpSpPr>
        <a:xfrm>
          <a:off x="0" y="0"/>
          <a:ext cx="0" cy="0"/>
          <a:chOff x="0" y="0"/>
          <a:chExt cx="0" cy="0"/>
        </a:xfrm>
      </p:grpSpPr>
      <p:pic>
        <p:nvPicPr>
          <p:cNvPr id="4" name="Picture 3" descr="A close up of a light&#10;&#10;Description automatically generated">
            <a:extLst>
              <a:ext uri="{FF2B5EF4-FFF2-40B4-BE49-F238E27FC236}">
                <a16:creationId xmlns:a16="http://schemas.microsoft.com/office/drawing/2014/main" id="{CF777754-78D6-41A5-8D55-405368388DEC}"/>
              </a:ext>
            </a:extLst>
          </p:cNvPr>
          <p:cNvPicPr>
            <a:picLocks noChangeAspect="1"/>
          </p:cNvPicPr>
          <p:nvPr userDrawn="1"/>
        </p:nvPicPr>
        <p:blipFill>
          <a:blip r:embed="rId2" cstate="screen">
            <a:alphaModFix amt="70000"/>
            <a:extLst>
              <a:ext uri="{28A0092B-C50C-407E-A947-70E740481C1C}">
                <a14:useLocalDpi xmlns:a14="http://schemas.microsoft.com/office/drawing/2010/main"/>
              </a:ext>
            </a:extLst>
          </a:blip>
          <a:stretch>
            <a:fillRect/>
          </a:stretch>
        </p:blipFill>
        <p:spPr>
          <a:xfrm>
            <a:off x="6014622" y="510540"/>
            <a:ext cx="5836920" cy="5836920"/>
          </a:xfrm>
          <a:prstGeom prst="rect">
            <a:avLst/>
          </a:prstGeom>
        </p:spPr>
      </p:pic>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Speaker title</a:t>
            </a:r>
          </a:p>
        </p:txBody>
      </p:sp>
      <p:sp>
        <p:nvSpPr>
          <p:cNvPr id="9" name="Text Placeholder 4">
            <a:extLst>
              <a:ext uri="{FF2B5EF4-FFF2-40B4-BE49-F238E27FC236}">
                <a16:creationId xmlns:a16="http://schemas.microsoft.com/office/drawing/2014/main" id="{917FE613-4634-DA48-AB6F-1E627297CBAD}"/>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pic>
        <p:nvPicPr>
          <p:cNvPr id="10" name="Picture 9">
            <a:extLst>
              <a:ext uri="{FF2B5EF4-FFF2-40B4-BE49-F238E27FC236}">
                <a16:creationId xmlns:a16="http://schemas.microsoft.com/office/drawing/2014/main" id="{BF7DBCB4-254E-46F6-A6A0-6DD624AFBE4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93688" y="298375"/>
            <a:ext cx="2622570" cy="867436"/>
          </a:xfrm>
          <a:prstGeom prst="rect">
            <a:avLst/>
          </a:prstGeom>
        </p:spPr>
      </p:pic>
      <p:sp>
        <p:nvSpPr>
          <p:cNvPr id="12" name="Title 1">
            <a:extLst>
              <a:ext uri="{FF2B5EF4-FFF2-40B4-BE49-F238E27FC236}">
                <a16:creationId xmlns:a16="http://schemas.microsoft.com/office/drawing/2014/main" id="{88F16FE3-942E-49EF-9BC0-959403DD84FE}"/>
              </a:ext>
            </a:extLst>
          </p:cNvPr>
          <p:cNvSpPr>
            <a:spLocks noGrp="1"/>
          </p:cNvSpPr>
          <p:nvPr>
            <p:ph type="title" hasCustomPrompt="1"/>
          </p:nvPr>
        </p:nvSpPr>
        <p:spPr>
          <a:xfrm>
            <a:off x="584200" y="2425780"/>
            <a:ext cx="4178300" cy="1107996"/>
          </a:xfrm>
          <a:noFill/>
        </p:spPr>
        <p:txBody>
          <a:bodyPr wrap="square"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Tree>
    <p:extLst>
      <p:ext uri="{BB962C8B-B14F-4D97-AF65-F5344CB8AC3E}">
        <p14:creationId xmlns:p14="http://schemas.microsoft.com/office/powerpoint/2010/main" val="1269532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614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246246886"/>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2/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2/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2/4/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notesSlide" Target="../notesSlides/notesSlide8.xml"/><Relationship Id="rId4"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7.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1.xml"/><Relationship Id="rId5" Type="http://schemas.openxmlformats.org/officeDocument/2006/relationships/hyperlink" Target="https://www.thomasmaurer.ch/2020/07/azure-stack-hci-version-20h2-everything-you-need-to-know/" TargetMode="External"/><Relationship Id="rId4" Type="http://schemas.openxmlformats.org/officeDocument/2006/relationships/image" Target="../media/image3.jpe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notesSlide" Target="../notesSlides/notesSlide2.xml"/><Relationship Id="rId7" Type="http://schemas.openxmlformats.org/officeDocument/2006/relationships/image" Target="../media/image7.svg"/><Relationship Id="rId12" Type="http://schemas.openxmlformats.org/officeDocument/2006/relationships/image" Target="../media/image12.png"/><Relationship Id="rId17" Type="http://schemas.openxmlformats.org/officeDocument/2006/relationships/image" Target="../media/image17.svg"/><Relationship Id="rId2" Type="http://schemas.openxmlformats.org/officeDocument/2006/relationships/slideLayout" Target="../slideLayouts/slideLayout15.xml"/><Relationship Id="rId16" Type="http://schemas.openxmlformats.org/officeDocument/2006/relationships/image" Target="../media/image16.png"/><Relationship Id="rId1" Type="http://schemas.openxmlformats.org/officeDocument/2006/relationships/tags" Target="../tags/tag2.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5" Type="http://schemas.openxmlformats.org/officeDocument/2006/relationships/image" Target="../media/image1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 Id="rId1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19.png"/><Relationship Id="rId4" Type="http://schemas.openxmlformats.org/officeDocument/2006/relationships/image" Target="../media/image18.jpeg"/></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4">
            <a:extLst>
              <a:ext uri="{FF2B5EF4-FFF2-40B4-BE49-F238E27FC236}">
                <a16:creationId xmlns:a16="http://schemas.microsoft.com/office/drawing/2014/main" id="{923330AA-E801-4805-BEDD-55FADC25A2D1}"/>
              </a:ext>
            </a:extLst>
          </p:cNvPr>
          <p:cNvSpPr>
            <a:spLocks noGrp="1"/>
          </p:cNvSpPr>
          <p:nvPr>
            <p:ph type="title"/>
          </p:nvPr>
        </p:nvSpPr>
        <p:spPr>
          <a:xfrm>
            <a:off x="502912" y="2681155"/>
            <a:ext cx="5309711" cy="923330"/>
          </a:xfrm>
        </p:spPr>
        <p:txBody>
          <a:bodyPr/>
          <a:lstStyle/>
          <a:p>
            <a:r>
              <a:rPr kumimoji="0" lang="en-US" sz="4000" b="0" i="0" u="none" strike="noStrike" kern="1200" cap="none" spc="-49" normalizeH="0" baseline="0" noProof="0">
                <a:ln w="3175">
                  <a:noFill/>
                </a:ln>
                <a:solidFill>
                  <a:srgbClr val="50E6FF"/>
                </a:solidFill>
                <a:effectLst/>
                <a:uLnTx/>
                <a:uFillTx/>
                <a:latin typeface="Segoe UI Semibold"/>
                <a:ea typeface="+mn-ea"/>
                <a:cs typeface="Segoe UI" pitchFamily="34" charset="0"/>
              </a:rPr>
              <a:t>Azure Stack HCI</a:t>
            </a:r>
            <a:br>
              <a:rPr kumimoji="0" lang="en-US" sz="5400" b="0" i="0" u="none" strike="noStrike" kern="1200" cap="none" spc="-49" normalizeH="0" baseline="0" noProof="0">
                <a:ln w="3175">
                  <a:noFill/>
                </a:ln>
                <a:solidFill>
                  <a:srgbClr val="50E6FF"/>
                </a:solidFill>
                <a:effectLst/>
                <a:uLnTx/>
                <a:uFillTx/>
                <a:latin typeface="Segoe UI Semibold"/>
                <a:ea typeface="+mn-ea"/>
                <a:cs typeface="Segoe UI" pitchFamily="34" charset="0"/>
              </a:rPr>
            </a:br>
            <a:r>
              <a:rPr lang="en-US" sz="2000"/>
              <a:t>The best infrastructure for hybrid</a:t>
            </a:r>
            <a:endParaRPr lang="en-US" sz="4400"/>
          </a:p>
        </p:txBody>
      </p:sp>
      <p:sp>
        <p:nvSpPr>
          <p:cNvPr id="6" name="TextBox 5">
            <a:extLst>
              <a:ext uri="{FF2B5EF4-FFF2-40B4-BE49-F238E27FC236}">
                <a16:creationId xmlns:a16="http://schemas.microsoft.com/office/drawing/2014/main" id="{3EDD21BD-07F1-4E3D-9A33-9E549FCF56AC}"/>
              </a:ext>
            </a:extLst>
          </p:cNvPr>
          <p:cNvSpPr txBox="1"/>
          <p:nvPr/>
        </p:nvSpPr>
        <p:spPr>
          <a:xfrm>
            <a:off x="502912" y="4033556"/>
            <a:ext cx="4174107" cy="861774"/>
          </a:xfrm>
          <a:prstGeom prst="rect">
            <a:avLst/>
          </a:prstGeom>
          <a:noFill/>
        </p:spPr>
        <p:txBody>
          <a:bodyPr wrap="square" lIns="0" tIns="0" rIns="0" bIns="0" rtlCol="0">
            <a:spAutoFit/>
          </a:bodyPr>
          <a:lstStyle/>
          <a:p>
            <a:r>
              <a:rPr lang="en-US" sz="2800">
                <a:solidFill>
                  <a:srgbClr val="50E6FF"/>
                </a:solidFill>
              </a:rPr>
              <a:t>Module Monitoring &amp; Troubleshooting</a:t>
            </a:r>
          </a:p>
        </p:txBody>
      </p:sp>
    </p:spTree>
    <p:extLst>
      <p:ext uri="{BB962C8B-B14F-4D97-AF65-F5344CB8AC3E}">
        <p14:creationId xmlns:p14="http://schemas.microsoft.com/office/powerpoint/2010/main" val="131418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3"/>
                </a:solidFill>
              </a:rPr>
              <a:t>Measuring Host Memory Usage</a:t>
            </a:r>
          </a:p>
        </p:txBody>
      </p:sp>
      <p:sp>
        <p:nvSpPr>
          <p:cNvPr id="4" name="Rectangle 3"/>
          <p:cNvSpPr/>
          <p:nvPr>
            <p:custDataLst>
              <p:tags r:id="rId1"/>
            </p:custDataLst>
          </p:nvPr>
        </p:nvSpPr>
        <p:spPr bwMode="auto">
          <a:xfrm>
            <a:off x="269241" y="1445649"/>
            <a:ext cx="11655840" cy="138255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3137">
                <a:solidFill>
                  <a:srgbClr val="FFFFFF"/>
                </a:solidFill>
                <a:latin typeface="Segoe UI" panose="020B0502040204020203" pitchFamily="34" charset="0"/>
                <a:ea typeface="Segoe UI" panose="020B0502040204020203" pitchFamily="34" charset="0"/>
                <a:cs typeface="Segoe UI" panose="020B0502040204020203" pitchFamily="34" charset="0"/>
              </a:rPr>
              <a:t> To measure </a:t>
            </a:r>
            <a:r>
              <a:rPr lang="en-US" sz="3137" b="1">
                <a:solidFill>
                  <a:srgbClr val="FFFFFF"/>
                </a:solidFill>
                <a:latin typeface="Segoe UI" panose="020B0502040204020203" pitchFamily="34" charset="0"/>
                <a:ea typeface="Segoe UI" panose="020B0502040204020203" pitchFamily="34" charset="0"/>
                <a:cs typeface="Segoe UI" panose="020B0502040204020203" pitchFamily="34" charset="0"/>
              </a:rPr>
              <a:t>total physical memory available </a:t>
            </a:r>
            <a:r>
              <a:rPr lang="en-US" sz="3137">
                <a:solidFill>
                  <a:srgbClr val="FFFFFF"/>
                </a:solidFill>
                <a:latin typeface="Segoe UI" panose="020B0502040204020203" pitchFamily="34" charset="0"/>
                <a:ea typeface="Segoe UI" panose="020B0502040204020203" pitchFamily="34" charset="0"/>
                <a:cs typeface="Segoe UI" panose="020B0502040204020203" pitchFamily="34" charset="0"/>
              </a:rPr>
              <a:t>on the host, use:</a:t>
            </a:r>
          </a:p>
          <a:p>
            <a:pPr lvl="1" defTabSz="932293" fontAlgn="base">
              <a:lnSpc>
                <a:spcPct val="90000"/>
              </a:lnSpc>
              <a:spcBef>
                <a:spcPct val="0"/>
              </a:spcBef>
              <a:spcAft>
                <a:spcPct val="0"/>
              </a:spcAft>
            </a:pPr>
            <a:r>
              <a:rPr lang="en-US" sz="3137">
                <a:solidFill>
                  <a:srgbClr val="FFFFFF"/>
                </a:solidFill>
                <a:latin typeface="Segoe UI" panose="020B0502040204020203" pitchFamily="34" charset="0"/>
                <a:ea typeface="Segoe UI" panose="020B0502040204020203" pitchFamily="34" charset="0"/>
                <a:cs typeface="Segoe UI" panose="020B0502040204020203" pitchFamily="34" charset="0"/>
              </a:rPr>
              <a:t>Memory\Available </a:t>
            </a:r>
            <a:r>
              <a:rPr lang="en-US" sz="3137" err="1">
                <a:solidFill>
                  <a:srgbClr val="FFFFFF"/>
                </a:solidFill>
                <a:latin typeface="Segoe UI" panose="020B0502040204020203" pitchFamily="34" charset="0"/>
                <a:ea typeface="Segoe UI" panose="020B0502040204020203" pitchFamily="34" charset="0"/>
                <a:cs typeface="Segoe UI" panose="020B0502040204020203" pitchFamily="34" charset="0"/>
              </a:rPr>
              <a:t>MBytes</a:t>
            </a:r>
            <a:r>
              <a:rPr lang="en-US" sz="3137">
                <a:solidFill>
                  <a:srgbClr val="FFFFFF"/>
                </a:solidFill>
                <a:latin typeface="Segoe UI" panose="020B0502040204020203" pitchFamily="34" charset="0"/>
                <a:ea typeface="Segoe UI" panose="020B0502040204020203" pitchFamily="34" charset="0"/>
                <a:cs typeface="Segoe UI" panose="020B0502040204020203" pitchFamily="34" charset="0"/>
              </a:rPr>
              <a:t> </a:t>
            </a:r>
          </a:p>
        </p:txBody>
      </p:sp>
      <p:sp>
        <p:nvSpPr>
          <p:cNvPr id="5" name="Rectangle 4"/>
          <p:cNvSpPr/>
          <p:nvPr>
            <p:custDataLst>
              <p:tags r:id="rId2"/>
            </p:custDataLst>
          </p:nvPr>
        </p:nvSpPr>
        <p:spPr bwMode="auto">
          <a:xfrm>
            <a:off x="269241" y="4479086"/>
            <a:ext cx="11655840" cy="137803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ctr" anchorCtr="0" forceAA="0" compatLnSpc="1">
            <a:noAutofit/>
          </a:bodyPr>
          <a:lstStyle/>
          <a:p>
            <a:pPr defTabSz="932293" fontAlgn="base">
              <a:lnSpc>
                <a:spcPct val="90000"/>
              </a:lnSpc>
              <a:spcBef>
                <a:spcPct val="0"/>
              </a:spcBef>
              <a:spcAft>
                <a:spcPct val="0"/>
              </a:spcAft>
            </a:pPr>
            <a:r>
              <a:rPr lang="en-US" sz="3137">
                <a:solidFill>
                  <a:srgbClr val="FFFFFF"/>
                </a:solidFill>
                <a:latin typeface="Segoe UI" panose="020B0502040204020203" pitchFamily="34" charset="0"/>
                <a:ea typeface="Segoe UI" panose="020B0502040204020203" pitchFamily="34" charset="0"/>
                <a:cs typeface="Segoe UI" panose="020B0502040204020203" pitchFamily="34" charset="0"/>
              </a:rPr>
              <a:t> Hyper-V </a:t>
            </a:r>
            <a:r>
              <a:rPr lang="en-US" sz="3137" b="1">
                <a:solidFill>
                  <a:srgbClr val="FFFFFF"/>
                </a:solidFill>
                <a:latin typeface="Segoe UI" panose="020B0502040204020203" pitchFamily="34" charset="0"/>
                <a:ea typeface="Segoe UI" panose="020B0502040204020203" pitchFamily="34" charset="0"/>
                <a:cs typeface="Segoe UI" panose="020B0502040204020203" pitchFamily="34" charset="0"/>
              </a:rPr>
              <a:t>never uses </a:t>
            </a:r>
            <a:r>
              <a:rPr lang="en-US" sz="3137">
                <a:solidFill>
                  <a:srgbClr val="FFFFFF"/>
                </a:solidFill>
                <a:latin typeface="Segoe UI" panose="020B0502040204020203" pitchFamily="34" charset="0"/>
                <a:ea typeface="Segoe UI" panose="020B0502040204020203" pitchFamily="34" charset="0"/>
                <a:cs typeface="Segoe UI" panose="020B0502040204020203" pitchFamily="34" charset="0"/>
              </a:rPr>
              <a:t>page file for running VMs </a:t>
            </a:r>
            <a:r>
              <a:rPr lang="en-US" sz="3137" b="1">
                <a:solidFill>
                  <a:srgbClr val="FFFFFF"/>
                </a:solidFill>
                <a:latin typeface="Segoe UI" panose="020B0502040204020203" pitchFamily="34" charset="0"/>
                <a:ea typeface="Segoe UI" panose="020B0502040204020203" pitchFamily="34" charset="0"/>
                <a:cs typeface="Segoe UI" panose="020B0502040204020203" pitchFamily="34" charset="0"/>
              </a:rPr>
              <a:t>except</a:t>
            </a:r>
            <a:r>
              <a:rPr lang="en-US" sz="3137">
                <a:solidFill>
                  <a:srgbClr val="FFFFFF"/>
                </a:solidFill>
                <a:latin typeface="Segoe UI" panose="020B0502040204020203" pitchFamily="34" charset="0"/>
                <a:ea typeface="Segoe UI" panose="020B0502040204020203" pitchFamily="34" charset="0"/>
                <a:cs typeface="Segoe UI" panose="020B0502040204020203" pitchFamily="34" charset="0"/>
              </a:rPr>
              <a:t> when:</a:t>
            </a:r>
          </a:p>
          <a:p>
            <a:pPr lvl="1" defTabSz="932293" fontAlgn="base">
              <a:lnSpc>
                <a:spcPct val="90000"/>
              </a:lnSpc>
              <a:spcBef>
                <a:spcPct val="0"/>
              </a:spcBef>
              <a:spcAft>
                <a:spcPct val="0"/>
              </a:spcAft>
            </a:pPr>
            <a:r>
              <a:rPr lang="en-US" sz="3137">
                <a:solidFill>
                  <a:srgbClr val="FFFFFF"/>
                </a:solidFill>
                <a:latin typeface="Segoe UI" panose="020B0502040204020203" pitchFamily="34" charset="0"/>
                <a:ea typeface="Segoe UI" panose="020B0502040204020203" pitchFamily="34" charset="0"/>
                <a:cs typeface="Segoe UI" panose="020B0502040204020203" pitchFamily="34" charset="0"/>
              </a:rPr>
              <a:t>VM with </a:t>
            </a:r>
            <a:r>
              <a:rPr lang="en-US" sz="3137" b="1">
                <a:solidFill>
                  <a:srgbClr val="FFFFFF"/>
                </a:solidFill>
                <a:latin typeface="Segoe UI" panose="020B0502040204020203" pitchFamily="34" charset="0"/>
                <a:ea typeface="Segoe UI" panose="020B0502040204020203" pitchFamily="34" charset="0"/>
                <a:cs typeface="Segoe UI" panose="020B0502040204020203" pitchFamily="34" charset="0"/>
              </a:rPr>
              <a:t>Dynamic Memory + Smart Page file.</a:t>
            </a:r>
            <a:endParaRPr lang="en-US" sz="1961" b="1">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Rectangle 5"/>
          <p:cNvSpPr/>
          <p:nvPr>
            <p:custDataLst>
              <p:tags r:id="rId3"/>
            </p:custDataLst>
          </p:nvPr>
        </p:nvSpPr>
        <p:spPr bwMode="auto">
          <a:xfrm>
            <a:off x="269241" y="2958570"/>
            <a:ext cx="11655840" cy="128201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ctr" anchorCtr="0" forceAA="0" compatLnSpc="1">
            <a:noAutofit/>
          </a:bodyPr>
          <a:lstStyle/>
          <a:p>
            <a:pPr defTabSz="932293" fontAlgn="base">
              <a:lnSpc>
                <a:spcPct val="90000"/>
              </a:lnSpc>
              <a:spcBef>
                <a:spcPct val="0"/>
              </a:spcBef>
              <a:spcAft>
                <a:spcPct val="0"/>
              </a:spcAft>
            </a:pPr>
            <a:r>
              <a:rPr lang="en-US" sz="3137">
                <a:solidFill>
                  <a:srgbClr val="FFFFFF"/>
                </a:solidFill>
                <a:latin typeface="Segoe UI" panose="020B0502040204020203" pitchFamily="34" charset="0"/>
                <a:ea typeface="Segoe UI" panose="020B0502040204020203" pitchFamily="34" charset="0"/>
                <a:cs typeface="Segoe UI" panose="020B0502040204020203" pitchFamily="34" charset="0"/>
              </a:rPr>
              <a:t> Windows Server total memory addressable is equal to </a:t>
            </a:r>
            <a:br>
              <a:rPr lang="en-US" sz="3137">
                <a:solidFill>
                  <a:srgbClr val="FFFFFF"/>
                </a:solidFill>
                <a:latin typeface="Segoe UI" panose="020B0502040204020203" pitchFamily="34" charset="0"/>
                <a:ea typeface="Segoe UI" panose="020B0502040204020203" pitchFamily="34" charset="0"/>
                <a:cs typeface="Segoe UI" panose="020B0502040204020203" pitchFamily="34" charset="0"/>
              </a:rPr>
            </a:br>
            <a:r>
              <a:rPr lang="en-US" sz="3137">
                <a:solidFill>
                  <a:srgbClr val="FFFFFF"/>
                </a:solidFill>
                <a:latin typeface="Segoe UI" panose="020B0502040204020203" pitchFamily="34" charset="0"/>
                <a:ea typeface="Segoe UI" panose="020B0502040204020203" pitchFamily="34" charset="0"/>
                <a:cs typeface="Segoe UI" panose="020B0502040204020203" pitchFamily="34" charset="0"/>
              </a:rPr>
              <a:t> </a:t>
            </a:r>
            <a:r>
              <a:rPr lang="en-US" sz="3137" b="1">
                <a:solidFill>
                  <a:srgbClr val="FFFFFF"/>
                </a:solidFill>
                <a:latin typeface="Segoe UI" panose="020B0502040204020203" pitchFamily="34" charset="0"/>
                <a:ea typeface="Segoe UI" panose="020B0502040204020203" pitchFamily="34" charset="0"/>
                <a:cs typeface="Segoe UI" panose="020B0502040204020203" pitchFamily="34" charset="0"/>
              </a:rPr>
              <a:t>physical memory + page file(s).</a:t>
            </a:r>
          </a:p>
        </p:txBody>
      </p:sp>
    </p:spTree>
    <p:extLst>
      <p:ext uri="{BB962C8B-B14F-4D97-AF65-F5344CB8AC3E}">
        <p14:creationId xmlns:p14="http://schemas.microsoft.com/office/powerpoint/2010/main" val="338105383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3"/>
                </a:solidFill>
              </a:rPr>
              <a:t>Memory\</a:t>
            </a:r>
          </a:p>
        </p:txBody>
      </p:sp>
      <p:graphicFrame>
        <p:nvGraphicFramePr>
          <p:cNvPr id="4" name="Table 3"/>
          <p:cNvGraphicFramePr>
            <a:graphicFrameLocks noGrp="1"/>
          </p:cNvGraphicFramePr>
          <p:nvPr/>
        </p:nvGraphicFramePr>
        <p:xfrm>
          <a:off x="874549" y="1187938"/>
          <a:ext cx="10375893" cy="5256383"/>
        </p:xfrm>
        <a:graphic>
          <a:graphicData uri="http://schemas.openxmlformats.org/drawingml/2006/table">
            <a:tbl>
              <a:tblPr>
                <a:tableStyleId>{306799F8-075E-4A3A-A7F6-7FBC6576F1A4}</a:tableStyleId>
              </a:tblPr>
              <a:tblGrid>
                <a:gridCol w="3167903">
                  <a:extLst>
                    <a:ext uri="{9D8B030D-6E8A-4147-A177-3AD203B41FA5}">
                      <a16:colId xmlns:a16="http://schemas.microsoft.com/office/drawing/2014/main" val="20000"/>
                    </a:ext>
                  </a:extLst>
                </a:gridCol>
                <a:gridCol w="3505257">
                  <a:extLst>
                    <a:ext uri="{9D8B030D-6E8A-4147-A177-3AD203B41FA5}">
                      <a16:colId xmlns:a16="http://schemas.microsoft.com/office/drawing/2014/main" val="20001"/>
                    </a:ext>
                  </a:extLst>
                </a:gridCol>
                <a:gridCol w="3702733">
                  <a:extLst>
                    <a:ext uri="{9D8B030D-6E8A-4147-A177-3AD203B41FA5}">
                      <a16:colId xmlns:a16="http://schemas.microsoft.com/office/drawing/2014/main" val="20002"/>
                    </a:ext>
                  </a:extLst>
                </a:gridCol>
              </a:tblGrid>
              <a:tr h="808567">
                <a:tc rowSpan="3">
                  <a:txBody>
                    <a:bodyPr/>
                    <a:lstStyle/>
                    <a:p>
                      <a:pPr marL="0" algn="l" defTabSz="914367" rtl="0" eaLnBrk="1" latinLnBrk="0" hangingPunct="1"/>
                      <a:r>
                        <a:rPr lang="en-US" sz="2400" kern="1200"/>
                        <a:t>Available </a:t>
                      </a:r>
                      <a:r>
                        <a:rPr lang="en-US" sz="2400" kern="1200" err="1"/>
                        <a:t>MBytes</a:t>
                      </a:r>
                      <a:r>
                        <a:rPr lang="en-US" sz="2400" kern="1200"/>
                        <a:t> </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rowSpan="3">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400"/>
                        <a:t>Available </a:t>
                      </a:r>
                      <a:r>
                        <a:rPr lang="en-US" sz="2400" err="1"/>
                        <a:t>MBytes</a:t>
                      </a:r>
                      <a:r>
                        <a:rPr lang="en-US" sz="2400"/>
                        <a:t> is the amount of physical memory, in Megabytes, immediately </a:t>
                      </a:r>
                      <a:r>
                        <a:rPr lang="en-US" sz="2400" b="1"/>
                        <a:t>available for allocation </a:t>
                      </a:r>
                      <a:r>
                        <a:rPr lang="en-US" sz="2400"/>
                        <a:t>to a process or for system us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r>
                        <a:rPr lang="en-US" sz="2400" kern="0">
                          <a:solidFill>
                            <a:prstClr val="white"/>
                          </a:solidFill>
                          <a:latin typeface="Segoe UI" panose="020B0502040204020203" pitchFamily="34" charset="0"/>
                          <a:ea typeface="+mn-ea"/>
                          <a:cs typeface="Segoe UI" panose="020B0502040204020203" pitchFamily="34" charset="0"/>
                        </a:rPr>
                        <a:t>Healthy</a:t>
                      </a:r>
                    </a:p>
                    <a:p>
                      <a:pPr algn="ctr"/>
                      <a:r>
                        <a:rPr lang="en-US" sz="2400" kern="0">
                          <a:solidFill>
                            <a:prstClr val="white"/>
                          </a:solidFill>
                          <a:latin typeface="Segoe UI" panose="020B0502040204020203" pitchFamily="34" charset="0"/>
                          <a:ea typeface="+mn-ea"/>
                          <a:cs typeface="Segoe UI" panose="020B0502040204020203" pitchFamily="34" charset="0"/>
                        </a:rPr>
                        <a:t>Above 10 %</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0"/>
                  </a:ext>
                </a:extLst>
              </a:tr>
              <a:tr h="808567">
                <a:tc vMerge="1">
                  <a:txBody>
                    <a:bodyPr/>
                    <a:lstStyle/>
                    <a:p>
                      <a:pPr marL="0" algn="l" defTabSz="914367" rtl="0" eaLnBrk="1" latinLnBrk="0" hangingPunct="1"/>
                      <a:endParaRPr lang="en-US" sz="2400" b="1" kern="1200">
                        <a:solidFill>
                          <a:schemeClr val="lt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vMerge="1">
                  <a:txBody>
                    <a:bodyPr/>
                    <a:lstStyle/>
                    <a:p>
                      <a:endParaRPr lang="en-US" sz="2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r>
                        <a:rPr lang="en-US" sz="2400"/>
                        <a:t>Caution </a:t>
                      </a:r>
                    </a:p>
                    <a:p>
                      <a:pPr algn="ctr"/>
                      <a:r>
                        <a:rPr lang="en-US" sz="2400"/>
                        <a:t>&lt; 10%</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0001"/>
                  </a:ext>
                </a:extLst>
              </a:tr>
              <a:tr h="808567">
                <a:tc vMerge="1">
                  <a:txBody>
                    <a:bodyPr/>
                    <a:lstStyle/>
                    <a:p>
                      <a:pPr marL="0" algn="l" defTabSz="914367" rtl="0" eaLnBrk="1" latinLnBrk="0" hangingPunct="1"/>
                      <a:endParaRPr lang="en-US" sz="2400" b="1" kern="1200">
                        <a:solidFill>
                          <a:schemeClr val="lt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vMerge="1">
                  <a:txBody>
                    <a:bodyPr/>
                    <a:lstStyle/>
                    <a:p>
                      <a:endParaRPr lang="en-US" sz="2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r>
                        <a:rPr lang="en-US" sz="2400"/>
                        <a:t>Critical </a:t>
                      </a:r>
                    </a:p>
                    <a:p>
                      <a:pPr algn="ctr"/>
                      <a:r>
                        <a:rPr lang="en-US" sz="2400"/>
                        <a:t>&lt; 5%</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002"/>
                  </a:ext>
                </a:extLst>
              </a:tr>
              <a:tr h="839773">
                <a:tc>
                  <a:txBody>
                    <a:bodyPr/>
                    <a:lstStyle/>
                    <a:p>
                      <a:pPr marL="0" algn="l" defTabSz="914367" rtl="0" eaLnBrk="1" latinLnBrk="0" hangingPunct="1"/>
                      <a:r>
                        <a:rPr lang="en-US" sz="2400" kern="1200"/>
                        <a:t>Commit Limit </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r>
                        <a:rPr lang="en-US" sz="2400" b="1"/>
                        <a:t>RAM + Page File</a:t>
                      </a:r>
                      <a:r>
                        <a:rPr lang="en-US" sz="2400"/>
                        <a:t>. If this value is going up, the system might be increasing the size of a page file. </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10003"/>
                  </a:ext>
                </a:extLst>
              </a:tr>
              <a:tr h="973886">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400" kern="1200"/>
                        <a:t>Committed Bytes </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400"/>
                        <a:t>Total amount of committed memory that is </a:t>
                      </a:r>
                      <a:r>
                        <a:rPr lang="en-US" sz="2400" b="1"/>
                        <a:t>in use by all processes</a:t>
                      </a:r>
                      <a:r>
                        <a:rPr lang="en-US" sz="2400"/>
                        <a:t> and by the kernel.</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10004"/>
                  </a:ext>
                </a:extLst>
              </a:tr>
              <a:tr h="973886">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400" kern="1200">
                          <a:solidFill>
                            <a:schemeClr val="lt1"/>
                          </a:solidFill>
                          <a:latin typeface="+mn-lt"/>
                          <a:ea typeface="+mn-ea"/>
                          <a:cs typeface="+mn-cs"/>
                        </a:rPr>
                        <a:t>% Committed Bytes In Use </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r>
                        <a:rPr lang="en-US" sz="2400"/>
                        <a:t>Compare </a:t>
                      </a:r>
                      <a:r>
                        <a:rPr lang="en-US" sz="2400" b="1"/>
                        <a:t>Committed Bytes to Commit Limit</a:t>
                      </a:r>
                      <a:r>
                        <a:rPr lang="en-US" sz="2400"/>
                        <a:t> expressed in percentag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959952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3"/>
                </a:solidFill>
              </a:rPr>
              <a:t>Memory (NUMA)</a:t>
            </a:r>
          </a:p>
        </p:txBody>
      </p:sp>
      <p:sp>
        <p:nvSpPr>
          <p:cNvPr id="4" name="Rectangle 3"/>
          <p:cNvSpPr/>
          <p:nvPr>
            <p:custDataLst>
              <p:tags r:id="rId1"/>
            </p:custDataLst>
          </p:nvPr>
        </p:nvSpPr>
        <p:spPr bwMode="auto">
          <a:xfrm>
            <a:off x="420833" y="1262640"/>
            <a:ext cx="11342900" cy="136291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45713" rIns="68570" bIns="45713" numCol="1" spcCol="0" rtlCol="0" fromWordArt="0" anchor="ctr" anchorCtr="0" forceAA="0" compatLnSpc="1">
            <a:prstTxWarp prst="textNoShape">
              <a:avLst/>
            </a:prstTxWarp>
            <a:noAutofit/>
          </a:bodyPr>
          <a:lstStyle/>
          <a:p>
            <a:pPr marL="342834" indent="-342834">
              <a:buFont typeface="Arial" panose="020B0604020202020204" pitchFamily="34" charset="0"/>
              <a:buChar char="•"/>
            </a:pPr>
            <a:r>
              <a:rPr lang="pt-PT" sz="2353" kern="0">
                <a:solidFill>
                  <a:prstClr val="white"/>
                </a:solidFill>
                <a:latin typeface="Segoe UI" panose="020B0502040204020203" pitchFamily="34" charset="0"/>
                <a:cs typeface="Segoe UI" panose="020B0502040204020203" pitchFamily="34" charset="0"/>
              </a:rPr>
              <a:t>Since Windows Server 2012 virtual NUMA is </a:t>
            </a:r>
            <a:r>
              <a:rPr lang="pt-PT" sz="2353" b="1" kern="0">
                <a:solidFill>
                  <a:prstClr val="white"/>
                </a:solidFill>
                <a:latin typeface="Segoe UI" panose="020B0502040204020203" pitchFamily="34" charset="0"/>
                <a:cs typeface="Segoe UI" panose="020B0502040204020203" pitchFamily="34" charset="0"/>
              </a:rPr>
              <a:t>available for Guest OS</a:t>
            </a:r>
          </a:p>
          <a:p>
            <a:pPr marL="342834" indent="-342834">
              <a:buFont typeface="Arial" panose="020B0604020202020204" pitchFamily="34" charset="0"/>
              <a:buChar char="•"/>
            </a:pPr>
            <a:r>
              <a:rPr lang="pt-PT" sz="2353" kern="0">
                <a:solidFill>
                  <a:prstClr val="white"/>
                </a:solidFill>
                <a:latin typeface="Segoe UI" panose="020B0502040204020203" pitchFamily="34" charset="0"/>
                <a:cs typeface="Segoe UI" panose="020B0502040204020203" pitchFamily="34" charset="0"/>
              </a:rPr>
              <a:t>Hyper-V automatically uses the </a:t>
            </a:r>
            <a:r>
              <a:rPr lang="pt-PT" sz="2353" b="1" kern="0">
                <a:solidFill>
                  <a:prstClr val="white"/>
                </a:solidFill>
                <a:latin typeface="Segoe UI" panose="020B0502040204020203" pitchFamily="34" charset="0"/>
                <a:cs typeface="Segoe UI" panose="020B0502040204020203" pitchFamily="34" charset="0"/>
              </a:rPr>
              <a:t>best option possible </a:t>
            </a:r>
            <a:r>
              <a:rPr lang="pt-PT" sz="2353" kern="0">
                <a:solidFill>
                  <a:prstClr val="white"/>
                </a:solidFill>
                <a:latin typeface="Segoe UI" panose="020B0502040204020203" pitchFamily="34" charset="0"/>
                <a:cs typeface="Segoe UI" panose="020B0502040204020203" pitchFamily="34" charset="0"/>
              </a:rPr>
              <a:t>and configures a VM NUMA topology to the optimal settings </a:t>
            </a:r>
            <a:r>
              <a:rPr lang="pt-PT" sz="2353" b="1" kern="0">
                <a:solidFill>
                  <a:prstClr val="white"/>
                </a:solidFill>
                <a:latin typeface="Segoe UI" panose="020B0502040204020203" pitchFamily="34" charset="0"/>
                <a:cs typeface="Segoe UI" panose="020B0502040204020203" pitchFamily="34" charset="0"/>
              </a:rPr>
              <a:t>based on the physical hardware.</a:t>
            </a:r>
          </a:p>
        </p:txBody>
      </p:sp>
      <p:sp>
        <p:nvSpPr>
          <p:cNvPr id="5" name="Rectangle 4"/>
          <p:cNvSpPr/>
          <p:nvPr/>
        </p:nvSpPr>
        <p:spPr>
          <a:xfrm>
            <a:off x="7635173" y="2680195"/>
            <a:ext cx="4128559" cy="972911"/>
          </a:xfrm>
          <a:prstGeom prst="rect">
            <a:avLst/>
          </a:prstGeom>
          <a:solidFill>
            <a:srgbClr val="00B050"/>
          </a:solidFill>
          <a:ln w="25400" cap="flat" cmpd="sng" algn="ctr">
            <a:noFill/>
            <a:prstDash val="solid"/>
          </a:ln>
          <a:effectLst/>
        </p:spPr>
        <p:txBody>
          <a:bodyPr rtlCol="0" anchor="ctr"/>
          <a:lstStyle/>
          <a:p>
            <a:pPr algn="ctr">
              <a:defRPr/>
            </a:pPr>
            <a:r>
              <a:rPr lang="en-US" sz="2000" kern="0">
                <a:solidFill>
                  <a:prstClr val="white"/>
                </a:solidFill>
                <a:latin typeface="Segoe UI" panose="020B0502040204020203" pitchFamily="34" charset="0"/>
                <a:cs typeface="Segoe UI" panose="020B0502040204020203" pitchFamily="34" charset="0"/>
              </a:rPr>
              <a:t>Healthy</a:t>
            </a:r>
          </a:p>
          <a:p>
            <a:pPr algn="ctr"/>
            <a:r>
              <a:rPr lang="en-US" sz="2000">
                <a:solidFill>
                  <a:prstClr val="white"/>
                </a:solidFill>
                <a:latin typeface="Segoe UI" panose="020B0502040204020203" pitchFamily="34" charset="0"/>
                <a:cs typeface="Segoe UI" panose="020B0502040204020203" pitchFamily="34" charset="0"/>
              </a:rPr>
              <a:t>If value is close to 0</a:t>
            </a:r>
          </a:p>
        </p:txBody>
      </p:sp>
      <p:graphicFrame>
        <p:nvGraphicFramePr>
          <p:cNvPr id="2" name="Table 1"/>
          <p:cNvGraphicFramePr>
            <a:graphicFrameLocks noGrp="1"/>
          </p:cNvGraphicFramePr>
          <p:nvPr/>
        </p:nvGraphicFramePr>
        <p:xfrm>
          <a:off x="420833" y="2680195"/>
          <a:ext cx="7139487" cy="3749026"/>
        </p:xfrm>
        <a:graphic>
          <a:graphicData uri="http://schemas.openxmlformats.org/drawingml/2006/table">
            <a:tbl>
              <a:tblPr firstRow="1" bandRow="1">
                <a:tableStyleId>{5C22544A-7EE6-4342-B048-85BDC9FD1C3A}</a:tableStyleId>
              </a:tblPr>
              <a:tblGrid>
                <a:gridCol w="2589154">
                  <a:extLst>
                    <a:ext uri="{9D8B030D-6E8A-4147-A177-3AD203B41FA5}">
                      <a16:colId xmlns:a16="http://schemas.microsoft.com/office/drawing/2014/main" val="20000"/>
                    </a:ext>
                  </a:extLst>
                </a:gridCol>
                <a:gridCol w="4550333">
                  <a:extLst>
                    <a:ext uri="{9D8B030D-6E8A-4147-A177-3AD203B41FA5}">
                      <a16:colId xmlns:a16="http://schemas.microsoft.com/office/drawing/2014/main" val="20001"/>
                    </a:ext>
                  </a:extLst>
                </a:gridCol>
              </a:tblGrid>
              <a:tr h="3677126">
                <a:tc>
                  <a:txBody>
                    <a:bodyPr/>
                    <a:lstStyle/>
                    <a:p>
                      <a:r>
                        <a:rPr lang="en-US" sz="2400" b="0"/>
                        <a:t>\\Hyper-V Hypervisor Virtual Processor(*)\</a:t>
                      </a:r>
                      <a:br>
                        <a:rPr lang="en-US" sz="2400" b="0"/>
                      </a:br>
                      <a:r>
                        <a:rPr lang="en-US" sz="2400" b="0"/>
                        <a:t>% Remote Run Time</a:t>
                      </a:r>
                    </a:p>
                  </a:txBody>
                  <a:tcPr marL="91427" marR="91427" marT="45713" marB="45713">
                    <a:solidFill>
                      <a:srgbClr val="0072C6"/>
                    </a:solidFill>
                  </a:tcPr>
                </a:tc>
                <a:tc>
                  <a:txBody>
                    <a:bodyPr/>
                    <a:lstStyle/>
                    <a:p>
                      <a:pPr marL="342900" indent="-342900">
                        <a:buFont typeface="Arial" panose="020B0604020202020204" pitchFamily="34" charset="0"/>
                        <a:buChar char="•"/>
                      </a:pPr>
                      <a:r>
                        <a:rPr lang="en-US" sz="2400" b="0">
                          <a:latin typeface="+mn-lt"/>
                        </a:rPr>
                        <a:t>The percentage of time spent by the virtual processor </a:t>
                      </a:r>
                      <a:r>
                        <a:rPr lang="en-US" sz="2400" b="1">
                          <a:latin typeface="+mn-lt"/>
                        </a:rPr>
                        <a:t>running on a remote node.</a:t>
                      </a:r>
                    </a:p>
                    <a:p>
                      <a:pPr marL="342900" marR="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a:solidFill>
                            <a:prstClr val="white"/>
                          </a:solidFill>
                          <a:latin typeface="+mn-lt"/>
                          <a:cs typeface="Segoe UI Light" pitchFamily="34" charset="0"/>
                        </a:rPr>
                        <a:t>The lowest value will represent the best performance, </a:t>
                      </a:r>
                      <a:r>
                        <a:rPr lang="en-US" sz="2400" b="1">
                          <a:solidFill>
                            <a:prstClr val="white"/>
                          </a:solidFill>
                          <a:latin typeface="+mn-lt"/>
                          <a:cs typeface="Segoe UI Light" pitchFamily="34" charset="0"/>
                        </a:rPr>
                        <a:t>ideally 0</a:t>
                      </a:r>
                      <a:r>
                        <a:rPr lang="en-US" sz="2400" b="0">
                          <a:solidFill>
                            <a:prstClr val="white"/>
                          </a:solidFill>
                          <a:latin typeface="+mn-lt"/>
                          <a:cs typeface="Segoe UI Light" pitchFamily="34" charset="0"/>
                        </a:rPr>
                        <a:t>, which means the VM will be using only local resources.</a:t>
                      </a:r>
                    </a:p>
                    <a:p>
                      <a:pPr marL="342900" marR="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a:solidFill>
                            <a:prstClr val="white"/>
                          </a:solidFill>
                          <a:latin typeface="+mn-lt"/>
                          <a:cs typeface="Segoe UI Light" pitchFamily="34" charset="0"/>
                        </a:rPr>
                        <a:t>VM NUMA topology</a:t>
                      </a:r>
                      <a:r>
                        <a:rPr lang="en-US" sz="2400" b="0" baseline="0">
                          <a:solidFill>
                            <a:prstClr val="white"/>
                          </a:solidFill>
                          <a:latin typeface="+mn-lt"/>
                          <a:cs typeface="Segoe UI Light" pitchFamily="34" charset="0"/>
                        </a:rPr>
                        <a:t> is </a:t>
                      </a:r>
                      <a:r>
                        <a:rPr lang="en-US" sz="2400" b="1" baseline="0">
                          <a:solidFill>
                            <a:prstClr val="white"/>
                          </a:solidFill>
                          <a:latin typeface="+mn-lt"/>
                          <a:cs typeface="Segoe UI Light" pitchFamily="34" charset="0"/>
                        </a:rPr>
                        <a:t>only</a:t>
                      </a:r>
                      <a:r>
                        <a:rPr lang="en-US" sz="2400" b="0" baseline="0">
                          <a:solidFill>
                            <a:prstClr val="white"/>
                          </a:solidFill>
                          <a:latin typeface="+mn-lt"/>
                          <a:cs typeface="Segoe UI Light" pitchFamily="34" charset="0"/>
                        </a:rPr>
                        <a:t> available when </a:t>
                      </a:r>
                      <a:r>
                        <a:rPr lang="en-US" sz="2400" b="1" baseline="0">
                          <a:solidFill>
                            <a:prstClr val="white"/>
                          </a:solidFill>
                          <a:latin typeface="+mn-lt"/>
                          <a:cs typeface="Segoe UI Light" pitchFamily="34" charset="0"/>
                        </a:rPr>
                        <a:t>static memory </a:t>
                      </a:r>
                      <a:r>
                        <a:rPr lang="en-US" sz="2400" b="0" baseline="0">
                          <a:solidFill>
                            <a:prstClr val="white"/>
                          </a:solidFill>
                          <a:latin typeface="+mn-lt"/>
                          <a:cs typeface="Segoe UI Light" pitchFamily="34" charset="0"/>
                        </a:rPr>
                        <a:t>is used on a particular VM.</a:t>
                      </a:r>
                    </a:p>
                  </a:txBody>
                  <a:tcPr marL="91427" marR="91427" marT="45713" marB="45713">
                    <a:solidFill>
                      <a:srgbClr val="0072C6"/>
                    </a:solidFill>
                  </a:tcPr>
                </a:tc>
                <a:extLst>
                  <a:ext uri="{0D108BD9-81ED-4DB2-BD59-A6C34878D82A}">
                    <a16:rowId xmlns:a16="http://schemas.microsoft.com/office/drawing/2014/main" val="10000"/>
                  </a:ext>
                </a:extLst>
              </a:tr>
            </a:tbl>
          </a:graphicData>
        </a:graphic>
      </p:graphicFrame>
      <p:pic>
        <p:nvPicPr>
          <p:cNvPr id="7" name="Picture 6">
            <a:extLst>
              <a:ext uri="{FF2B5EF4-FFF2-40B4-BE49-F238E27FC236}">
                <a16:creationId xmlns:a16="http://schemas.microsoft.com/office/drawing/2014/main" id="{EFBA4DB7-8914-41C9-896A-B211549DB0FE}"/>
              </a:ext>
            </a:extLst>
          </p:cNvPr>
          <p:cNvPicPr>
            <a:picLocks noChangeAspect="1"/>
          </p:cNvPicPr>
          <p:nvPr/>
        </p:nvPicPr>
        <p:blipFill>
          <a:blip r:embed="rId4"/>
          <a:stretch>
            <a:fillRect/>
          </a:stretch>
        </p:blipFill>
        <p:spPr>
          <a:xfrm>
            <a:off x="7635172" y="3744785"/>
            <a:ext cx="4128559" cy="2837798"/>
          </a:xfrm>
          <a:prstGeom prst="rect">
            <a:avLst/>
          </a:prstGeom>
        </p:spPr>
      </p:pic>
    </p:spTree>
    <p:extLst>
      <p:ext uri="{BB962C8B-B14F-4D97-AF65-F5344CB8AC3E}">
        <p14:creationId xmlns:p14="http://schemas.microsoft.com/office/powerpoint/2010/main" val="3284668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3"/>
                </a:solidFill>
              </a:rPr>
              <a:t>Hyper-V Dynamic Memory Balancer\ </a:t>
            </a:r>
          </a:p>
        </p:txBody>
      </p:sp>
      <p:graphicFrame>
        <p:nvGraphicFramePr>
          <p:cNvPr id="5" name="Table 4">
            <a:extLst>
              <a:ext uri="{FF2B5EF4-FFF2-40B4-BE49-F238E27FC236}">
                <a16:creationId xmlns:a16="http://schemas.microsoft.com/office/drawing/2014/main" id="{D792FEFF-D645-4F0B-B29E-C8E57FFACD90}"/>
              </a:ext>
            </a:extLst>
          </p:cNvPr>
          <p:cNvGraphicFramePr>
            <a:graphicFrameLocks noGrp="1"/>
          </p:cNvGraphicFramePr>
          <p:nvPr/>
        </p:nvGraphicFramePr>
        <p:xfrm>
          <a:off x="566890" y="1934959"/>
          <a:ext cx="10982361" cy="3657544"/>
        </p:xfrm>
        <a:graphic>
          <a:graphicData uri="http://schemas.openxmlformats.org/drawingml/2006/table">
            <a:tbl>
              <a:tblPr>
                <a:tableStyleId>{306799F8-075E-4A3A-A7F6-7FBC6576F1A4}</a:tableStyleId>
              </a:tblPr>
              <a:tblGrid>
                <a:gridCol w="3737425">
                  <a:extLst>
                    <a:ext uri="{9D8B030D-6E8A-4147-A177-3AD203B41FA5}">
                      <a16:colId xmlns:a16="http://schemas.microsoft.com/office/drawing/2014/main" val="4095516213"/>
                    </a:ext>
                  </a:extLst>
                </a:gridCol>
                <a:gridCol w="3515531">
                  <a:extLst>
                    <a:ext uri="{9D8B030D-6E8A-4147-A177-3AD203B41FA5}">
                      <a16:colId xmlns:a16="http://schemas.microsoft.com/office/drawing/2014/main" val="1406482873"/>
                    </a:ext>
                  </a:extLst>
                </a:gridCol>
                <a:gridCol w="3729405">
                  <a:extLst>
                    <a:ext uri="{9D8B030D-6E8A-4147-A177-3AD203B41FA5}">
                      <a16:colId xmlns:a16="http://schemas.microsoft.com/office/drawing/2014/main" val="4156852907"/>
                    </a:ext>
                  </a:extLst>
                </a:gridCol>
              </a:tblGrid>
              <a:tr h="1884276">
                <a:tc>
                  <a:txBody>
                    <a:bodyPr/>
                    <a:lstStyle/>
                    <a:p>
                      <a:pPr marL="0" indent="0" defTabSz="932472" fontAlgn="base">
                        <a:lnSpc>
                          <a:spcPct val="90000"/>
                        </a:lnSpc>
                        <a:spcBef>
                          <a:spcPct val="0"/>
                        </a:spcBef>
                        <a:spcAft>
                          <a:spcPct val="0"/>
                        </a:spcAft>
                        <a:buFont typeface="Arial" panose="020B0604020202020204" pitchFamily="34" charset="0"/>
                        <a:buNone/>
                      </a:pPr>
                      <a:r>
                        <a:rPr lang="en-US" sz="2400">
                          <a:solidFill>
                            <a:srgbClr val="FFFFFF"/>
                          </a:solidFill>
                          <a:latin typeface="Segoe UI" panose="020B0502040204020203" pitchFamily="34" charset="0"/>
                          <a:ea typeface="Segoe UI" pitchFamily="34" charset="0"/>
                          <a:cs typeface="Segoe UI" panose="020B0502040204020203" pitchFamily="34" charset="0"/>
                        </a:rPr>
                        <a:t>Available Memory</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400" kern="1200">
                          <a:solidFill>
                            <a:schemeClr val="lt1"/>
                          </a:solidFill>
                          <a:latin typeface="Segoe UI" panose="020B0502040204020203" pitchFamily="34" charset="0"/>
                          <a:ea typeface="+mn-ea"/>
                          <a:cs typeface="Segoe UI" panose="020B0502040204020203" pitchFamily="34" charset="0"/>
                        </a:rPr>
                        <a:t>This counter represents the amount of memory left on the node that </a:t>
                      </a:r>
                      <a:r>
                        <a:rPr lang="en-US" sz="2400" b="1" kern="1200">
                          <a:solidFill>
                            <a:schemeClr val="lt1"/>
                          </a:solidFill>
                          <a:latin typeface="Segoe UI" panose="020B0502040204020203" pitchFamily="34" charset="0"/>
                          <a:ea typeface="+mn-ea"/>
                          <a:cs typeface="Segoe UI" panose="020B0502040204020203" pitchFamily="34" charset="0"/>
                        </a:rPr>
                        <a:t>can be assigned to VMs</a:t>
                      </a:r>
                      <a:r>
                        <a:rPr lang="en-US" sz="2400" kern="1200">
                          <a:solidFill>
                            <a:schemeClr val="lt1"/>
                          </a:solidFill>
                          <a:latin typeface="Segoe UI" panose="020B0502040204020203" pitchFamily="34" charset="0"/>
                          <a:ea typeface="+mn-ea"/>
                          <a:cs typeface="Segoe UI" panose="020B0502040204020203" pitchFamily="34" charset="0"/>
                        </a:rPr>
                        <a:t>.  When close to 0, then the system is running close to 100% memory utilization and VM’s might see performance issues</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3658071245"/>
                  </a:ext>
                </a:extLst>
              </a:tr>
              <a:tr h="449997">
                <a:tc rowSpan="3">
                  <a:txBody>
                    <a:bodyPr/>
                    <a:lstStyle/>
                    <a:p>
                      <a:pPr marL="0" marR="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sz="2400">
                          <a:solidFill>
                            <a:srgbClr val="FFFFFF"/>
                          </a:solidFill>
                          <a:latin typeface="Segoe UI" panose="020B0502040204020203" pitchFamily="34" charset="0"/>
                          <a:ea typeface="Segoe UI" pitchFamily="34" charset="0"/>
                          <a:cs typeface="Segoe UI" panose="020B0502040204020203" pitchFamily="34" charset="0"/>
                        </a:rPr>
                        <a:t>Average Pressur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rowSpan="3">
                  <a:txBody>
                    <a:bodyPr/>
                    <a:lstStyle/>
                    <a:p>
                      <a:r>
                        <a:rPr lang="en-US" sz="2400">
                          <a:latin typeface="Segoe UI" panose="020B0502040204020203" pitchFamily="34" charset="0"/>
                          <a:cs typeface="Segoe UI" panose="020B0502040204020203" pitchFamily="34" charset="0"/>
                        </a:rPr>
                        <a:t>This counter represents the </a:t>
                      </a:r>
                      <a:r>
                        <a:rPr lang="en-US" sz="2400" b="1">
                          <a:latin typeface="Segoe UI" panose="020B0502040204020203" pitchFamily="34" charset="0"/>
                          <a:cs typeface="Segoe UI" panose="020B0502040204020203" pitchFamily="34" charset="0"/>
                        </a:rPr>
                        <a:t>average pressure on the balancer nod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r>
                        <a:rPr lang="en-US" sz="2400">
                          <a:latin typeface="Segoe UI" panose="020B0502040204020203" pitchFamily="34" charset="0"/>
                          <a:cs typeface="Segoe UI" panose="020B0502040204020203" pitchFamily="34" charset="0"/>
                        </a:rPr>
                        <a:t>Healthy: Below 83</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4121644372"/>
                  </a:ext>
                </a:extLst>
              </a:tr>
              <a:tr h="808567">
                <a:tc vMerge="1">
                  <a:txBody>
                    <a:bodyPr/>
                    <a:lstStyle/>
                    <a:p>
                      <a:endParaRPr lang="en-US"/>
                    </a:p>
                  </a:txBody>
                  <a:tcPr/>
                </a:tc>
                <a:tc vMerge="1">
                  <a:txBody>
                    <a:bodyPr/>
                    <a:lstStyle/>
                    <a:p>
                      <a:endParaRPr lang="en-US" sz="1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r>
                        <a:rPr lang="en-US" sz="2400">
                          <a:latin typeface="Segoe UI" panose="020B0502040204020203" pitchFamily="34" charset="0"/>
                          <a:cs typeface="Segoe UI" panose="020B0502040204020203" pitchFamily="34" charset="0"/>
                        </a:rPr>
                        <a:t>Caution: Between 83 to 100</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589706490"/>
                  </a:ext>
                </a:extLst>
              </a:tr>
              <a:tr h="449997">
                <a:tc vMerge="1">
                  <a:txBody>
                    <a:bodyPr/>
                    <a:lstStyle/>
                    <a:p>
                      <a:endParaRPr lang="en-US"/>
                    </a:p>
                  </a:txBody>
                  <a:tcPr/>
                </a:tc>
                <a:tc vMerge="1">
                  <a:txBody>
                    <a:bodyPr/>
                    <a:lstStyle/>
                    <a:p>
                      <a:endParaRPr lang="en-US" sz="1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r>
                        <a:rPr lang="en-US" sz="2400">
                          <a:latin typeface="Segoe UI" panose="020B0502040204020203" pitchFamily="34" charset="0"/>
                          <a:cs typeface="Segoe UI" panose="020B0502040204020203" pitchFamily="34" charset="0"/>
                        </a:rPr>
                        <a:t>Critical: Above 100</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491350608"/>
                  </a:ext>
                </a:extLst>
              </a:tr>
            </a:tbl>
          </a:graphicData>
        </a:graphic>
      </p:graphicFrame>
    </p:spTree>
    <p:extLst>
      <p:ext uri="{BB962C8B-B14F-4D97-AF65-F5344CB8AC3E}">
        <p14:creationId xmlns:p14="http://schemas.microsoft.com/office/powerpoint/2010/main" val="99580718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3"/>
                </a:solidFill>
              </a:rPr>
              <a:t>Hyper-V Dynamic Memory VM\ </a:t>
            </a:r>
          </a:p>
        </p:txBody>
      </p:sp>
      <p:graphicFrame>
        <p:nvGraphicFramePr>
          <p:cNvPr id="4" name="Table 3"/>
          <p:cNvGraphicFramePr>
            <a:graphicFrameLocks noGrp="1"/>
          </p:cNvGraphicFramePr>
          <p:nvPr/>
        </p:nvGraphicFramePr>
        <p:xfrm>
          <a:off x="585471" y="2262480"/>
          <a:ext cx="10982361" cy="3383210"/>
        </p:xfrm>
        <a:graphic>
          <a:graphicData uri="http://schemas.openxmlformats.org/drawingml/2006/table">
            <a:tbl>
              <a:tblPr>
                <a:tableStyleId>{306799F8-075E-4A3A-A7F6-7FBC6576F1A4}</a:tableStyleId>
              </a:tblPr>
              <a:tblGrid>
                <a:gridCol w="3737425">
                  <a:extLst>
                    <a:ext uri="{9D8B030D-6E8A-4147-A177-3AD203B41FA5}">
                      <a16:colId xmlns:a16="http://schemas.microsoft.com/office/drawing/2014/main" val="20000"/>
                    </a:ext>
                  </a:extLst>
                </a:gridCol>
                <a:gridCol w="3622468">
                  <a:extLst>
                    <a:ext uri="{9D8B030D-6E8A-4147-A177-3AD203B41FA5}">
                      <a16:colId xmlns:a16="http://schemas.microsoft.com/office/drawing/2014/main" val="20001"/>
                    </a:ext>
                  </a:extLst>
                </a:gridCol>
                <a:gridCol w="3622468">
                  <a:extLst>
                    <a:ext uri="{9D8B030D-6E8A-4147-A177-3AD203B41FA5}">
                      <a16:colId xmlns:a16="http://schemas.microsoft.com/office/drawing/2014/main" val="20002"/>
                    </a:ext>
                  </a:extLst>
                </a:gridCol>
              </a:tblGrid>
              <a:tr h="808567">
                <a:tc>
                  <a:txBody>
                    <a:bodyPr/>
                    <a:lstStyle/>
                    <a:p>
                      <a:pPr marL="0" marR="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sz="2400">
                          <a:solidFill>
                            <a:srgbClr val="FFFFFF"/>
                          </a:solidFill>
                          <a:latin typeface="Segoe UI" panose="020B0502040204020203" pitchFamily="34" charset="0"/>
                          <a:ea typeface="Segoe UI" pitchFamily="34" charset="0"/>
                          <a:cs typeface="Segoe UI" panose="020B0502040204020203" pitchFamily="34" charset="0"/>
                        </a:rPr>
                        <a:t>Guest Visible Physical Memory</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r>
                        <a:rPr lang="en-US" sz="2400">
                          <a:latin typeface="Segoe UI" panose="020B0502040204020203" pitchFamily="34" charset="0"/>
                          <a:cs typeface="Segoe UI" panose="020B0502040204020203" pitchFamily="34" charset="0"/>
                        </a:rPr>
                        <a:t>This counter represents the amount of memory </a:t>
                      </a:r>
                      <a:r>
                        <a:rPr lang="en-US" sz="2400" b="1">
                          <a:latin typeface="Segoe UI" panose="020B0502040204020203" pitchFamily="34" charset="0"/>
                          <a:cs typeface="Segoe UI" panose="020B0502040204020203" pitchFamily="34" charset="0"/>
                        </a:rPr>
                        <a:t>visible in the VM</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10004"/>
                  </a:ext>
                </a:extLst>
              </a:tr>
              <a:tr h="808567">
                <a:tc>
                  <a:txBody>
                    <a:bodyPr/>
                    <a:lstStyle/>
                    <a:p>
                      <a:pPr marL="0" marR="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sz="2400">
                          <a:solidFill>
                            <a:srgbClr val="FFFFFF"/>
                          </a:solidFill>
                          <a:latin typeface="Segoe UI" panose="020B0502040204020203" pitchFamily="34" charset="0"/>
                          <a:ea typeface="Segoe UI" pitchFamily="34" charset="0"/>
                          <a:cs typeface="Segoe UI" panose="020B0502040204020203" pitchFamily="34" charset="0"/>
                        </a:rPr>
                        <a:t>Physical Memory</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400">
                          <a:latin typeface="Segoe UI" panose="020B0502040204020203" pitchFamily="34" charset="0"/>
                          <a:cs typeface="Segoe UI" panose="020B0502040204020203" pitchFamily="34" charset="0"/>
                        </a:rPr>
                        <a:t>This counter represents the </a:t>
                      </a:r>
                      <a:r>
                        <a:rPr lang="en-US" sz="2400" b="1">
                          <a:latin typeface="Segoe UI" panose="020B0502040204020203" pitchFamily="34" charset="0"/>
                          <a:cs typeface="Segoe UI" panose="020B0502040204020203" pitchFamily="34" charset="0"/>
                        </a:rPr>
                        <a:t>current amount </a:t>
                      </a:r>
                      <a:r>
                        <a:rPr lang="en-US" sz="2400">
                          <a:latin typeface="Segoe UI" panose="020B0502040204020203" pitchFamily="34" charset="0"/>
                          <a:cs typeface="Segoe UI" panose="020B0502040204020203" pitchFamily="34" charset="0"/>
                        </a:rPr>
                        <a:t>of physical memory </a:t>
                      </a:r>
                      <a:r>
                        <a:rPr lang="en-US" sz="2400" b="1">
                          <a:latin typeface="Segoe UI" panose="020B0502040204020203" pitchFamily="34" charset="0"/>
                          <a:cs typeface="Segoe UI" panose="020B0502040204020203" pitchFamily="34" charset="0"/>
                        </a:rPr>
                        <a:t>assigned</a:t>
                      </a:r>
                      <a:r>
                        <a:rPr lang="en-US" sz="2400">
                          <a:latin typeface="Segoe UI" panose="020B0502040204020203" pitchFamily="34" charset="0"/>
                          <a:cs typeface="Segoe UI" panose="020B0502040204020203" pitchFamily="34" charset="0"/>
                        </a:rPr>
                        <a:t> in the VM</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10005"/>
                  </a:ext>
                </a:extLst>
              </a:tr>
              <a:tr h="449997">
                <a:tc rowSpan="3">
                  <a:txBody>
                    <a:bodyPr/>
                    <a:lstStyle/>
                    <a:p>
                      <a:pPr marL="0" marR="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sz="2400">
                          <a:solidFill>
                            <a:srgbClr val="FFFFFF"/>
                          </a:solidFill>
                          <a:latin typeface="Segoe UI" panose="020B0502040204020203" pitchFamily="34" charset="0"/>
                          <a:ea typeface="Segoe UI" pitchFamily="34" charset="0"/>
                          <a:cs typeface="Segoe UI" panose="020B0502040204020203" pitchFamily="34" charset="0"/>
                        </a:rPr>
                        <a:t>Average Pressure</a:t>
                      </a:r>
                    </a:p>
                    <a:p>
                      <a:pPr marL="0" indent="0" defTabSz="932472" fontAlgn="base">
                        <a:lnSpc>
                          <a:spcPct val="90000"/>
                        </a:lnSpc>
                        <a:spcBef>
                          <a:spcPct val="0"/>
                        </a:spcBef>
                        <a:spcAft>
                          <a:spcPct val="0"/>
                        </a:spcAft>
                        <a:buFont typeface="Arial" panose="020B0604020202020204" pitchFamily="34" charset="0"/>
                        <a:buNone/>
                      </a:pPr>
                      <a:endParaRPr lang="en-US" sz="2400">
                        <a:solidFill>
                          <a:srgbClr val="FFFFFF"/>
                        </a:solidFill>
                        <a:latin typeface="Segoe UI" panose="020B0502040204020203" pitchFamily="34" charset="0"/>
                        <a:ea typeface="Segoe UI" pitchFamily="34" charset="0"/>
                        <a:cs typeface="Segoe UI" panose="020B0502040204020203" pitchFamily="34" charset="0"/>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rowSpan="3">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400">
                          <a:latin typeface="Segoe UI" panose="020B0502040204020203" pitchFamily="34" charset="0"/>
                          <a:cs typeface="Segoe UI" panose="020B0502040204020203" pitchFamily="34" charset="0"/>
                        </a:rPr>
                        <a:t>This counter represents the average pressure on the VM</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r>
                        <a:rPr lang="en-US" sz="2400">
                          <a:latin typeface="Segoe UI" panose="020B0502040204020203" pitchFamily="34" charset="0"/>
                          <a:cs typeface="Segoe UI" panose="020B0502040204020203" pitchFamily="34" charset="0"/>
                        </a:rPr>
                        <a:t>Healthy: Below 83</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6"/>
                  </a:ext>
                </a:extLst>
              </a:tr>
              <a:tr h="808567">
                <a:tc vMerge="1">
                  <a:txBody>
                    <a:bodyPr/>
                    <a:lstStyle/>
                    <a:p>
                      <a:endParaRPr lang="en-US"/>
                    </a:p>
                  </a:txBody>
                  <a:tcPr/>
                </a:tc>
                <a:tc vMerge="1">
                  <a:txBody>
                    <a:bodyPr/>
                    <a:lstStyle/>
                    <a:p>
                      <a:endParaRPr lang="en-US" sz="1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r>
                        <a:rPr lang="en-US" sz="2400">
                          <a:latin typeface="Segoe UI" panose="020B0502040204020203" pitchFamily="34" charset="0"/>
                          <a:cs typeface="Segoe UI" panose="020B0502040204020203" pitchFamily="34" charset="0"/>
                        </a:rPr>
                        <a:t>Caution: Between 83 to 100</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0007"/>
                  </a:ext>
                </a:extLst>
              </a:tr>
              <a:tr h="449997">
                <a:tc vMerge="1">
                  <a:txBody>
                    <a:bodyPr/>
                    <a:lstStyle/>
                    <a:p>
                      <a:endParaRPr lang="en-US"/>
                    </a:p>
                  </a:txBody>
                  <a:tcPr/>
                </a:tc>
                <a:tc vMerge="1">
                  <a:txBody>
                    <a:bodyPr/>
                    <a:lstStyle/>
                    <a:p>
                      <a:endParaRPr lang="en-US" sz="1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r>
                        <a:rPr lang="en-US" sz="2400">
                          <a:latin typeface="Segoe UI" panose="020B0502040204020203" pitchFamily="34" charset="0"/>
                          <a:cs typeface="Segoe UI" panose="020B0502040204020203" pitchFamily="34" charset="0"/>
                        </a:rPr>
                        <a:t>Critical: Above 100</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008"/>
                  </a:ext>
                </a:extLst>
              </a:tr>
            </a:tbl>
          </a:graphicData>
        </a:graphic>
      </p:graphicFrame>
      <p:sp>
        <p:nvSpPr>
          <p:cNvPr id="5" name="TextBox 4">
            <a:extLst>
              <a:ext uri="{FF2B5EF4-FFF2-40B4-BE49-F238E27FC236}">
                <a16:creationId xmlns:a16="http://schemas.microsoft.com/office/drawing/2014/main" id="{65B76AF9-C9FB-4BF6-B73F-4F97D53E205E}"/>
              </a:ext>
            </a:extLst>
          </p:cNvPr>
          <p:cNvSpPr txBox="1"/>
          <p:nvPr/>
        </p:nvSpPr>
        <p:spPr>
          <a:xfrm>
            <a:off x="361238" y="5874623"/>
            <a:ext cx="11560698" cy="367477"/>
          </a:xfrm>
          <a:prstGeom prst="rect">
            <a:avLst/>
          </a:prstGeom>
          <a:noFill/>
        </p:spPr>
        <p:txBody>
          <a:bodyPr wrap="square" rtlCol="0">
            <a:spAutoFit/>
          </a:bodyPr>
          <a:lstStyle/>
          <a:p>
            <a:r>
              <a:rPr lang="en-US" b="1">
                <a:solidFill>
                  <a:srgbClr val="FF0000"/>
                </a:solidFill>
                <a:latin typeface="Segoe UI" panose="020B0502040204020203" pitchFamily="34" charset="0"/>
                <a:cs typeface="Segoe UI" panose="020B0502040204020203" pitchFamily="34" charset="0"/>
              </a:rPr>
              <a:t>Note: Also applies to WS 2016, WS 2019 and Windows 10 VMs running static memory</a:t>
            </a:r>
          </a:p>
        </p:txBody>
      </p:sp>
    </p:spTree>
    <p:extLst>
      <p:ext uri="{BB962C8B-B14F-4D97-AF65-F5344CB8AC3E}">
        <p14:creationId xmlns:p14="http://schemas.microsoft.com/office/powerpoint/2010/main" val="136843980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0" y="0"/>
            <a:ext cx="10515600" cy="1325563"/>
          </a:xfrm>
        </p:spPr>
        <p:txBody>
          <a:bodyPr/>
          <a:lstStyle/>
          <a:p>
            <a:r>
              <a:rPr lang="en-US">
                <a:solidFill>
                  <a:schemeClr val="accent3"/>
                </a:solidFill>
              </a:rPr>
              <a:t>Azure Stack HCI Events</a:t>
            </a:r>
          </a:p>
        </p:txBody>
      </p:sp>
      <p:pic>
        <p:nvPicPr>
          <p:cNvPr id="4" name="Picture 3">
            <a:extLst>
              <a:ext uri="{FF2B5EF4-FFF2-40B4-BE49-F238E27FC236}">
                <a16:creationId xmlns:a16="http://schemas.microsoft.com/office/drawing/2014/main" id="{05538F2B-EFB7-4C2E-8B49-996BBD3A00FF}"/>
              </a:ext>
            </a:extLst>
          </p:cNvPr>
          <p:cNvPicPr>
            <a:picLocks noChangeAspect="1"/>
          </p:cNvPicPr>
          <p:nvPr/>
        </p:nvPicPr>
        <p:blipFill>
          <a:blip r:embed="rId3"/>
          <a:stretch>
            <a:fillRect/>
          </a:stretch>
        </p:blipFill>
        <p:spPr>
          <a:xfrm>
            <a:off x="0" y="1758830"/>
            <a:ext cx="12192000" cy="5099170"/>
          </a:xfrm>
          <a:prstGeom prst="rect">
            <a:avLst/>
          </a:prstGeom>
        </p:spPr>
      </p:pic>
    </p:spTree>
    <p:extLst>
      <p:ext uri="{BB962C8B-B14F-4D97-AF65-F5344CB8AC3E}">
        <p14:creationId xmlns:p14="http://schemas.microsoft.com/office/powerpoint/2010/main" val="388736261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xfrm>
            <a:off x="-1" y="2093"/>
            <a:ext cx="10515600" cy="1306443"/>
          </a:xfrm>
        </p:spPr>
        <p:txBody>
          <a:bodyPr vert="horz" lIns="91440" tIns="45720" rIns="91440" bIns="45720" rtlCol="0" anchor="ctr">
            <a:normAutofit/>
          </a:bodyPr>
          <a:lstStyle/>
          <a:p>
            <a:r>
              <a:rPr lang="en-US" sz="4000"/>
              <a:t>Event Logs in Event Viewer</a:t>
            </a:r>
          </a:p>
        </p:txBody>
      </p:sp>
      <p:sp>
        <p:nvSpPr>
          <p:cNvPr id="17" name="TextBox 16"/>
          <p:cNvSpPr txBox="1"/>
          <p:nvPr/>
        </p:nvSpPr>
        <p:spPr>
          <a:xfrm>
            <a:off x="167452" y="1930489"/>
            <a:ext cx="4152774" cy="4303464"/>
          </a:xfrm>
          <a:prstGeom prst="rect">
            <a:avLst/>
          </a:prstGeom>
        </p:spPr>
        <p:txBody>
          <a:bodyPr vert="horz" lIns="91440" tIns="45720" rIns="91440" bIns="45720" rtlCol="0">
            <a:normAutofit/>
          </a:bodyPr>
          <a:lstStyle/>
          <a:p>
            <a:pPr indent="-228600">
              <a:lnSpc>
                <a:spcPct val="90000"/>
              </a:lnSpc>
              <a:spcAft>
                <a:spcPts val="600"/>
              </a:spcAft>
              <a:buSzPct val="110000"/>
              <a:buFont typeface="Arial" panose="020B0604020202020204" pitchFamily="34" charset="0"/>
              <a:buChar char="•"/>
            </a:pPr>
            <a:r>
              <a:rPr lang="en-US" sz="2000"/>
              <a:t>Hyper-V Event Logs are found in the </a:t>
            </a:r>
            <a:r>
              <a:rPr lang="en-US" sz="2000" b="1"/>
              <a:t>Event Viewer</a:t>
            </a:r>
            <a:r>
              <a:rPr lang="en-US" sz="2000"/>
              <a:t> under </a:t>
            </a:r>
            <a:r>
              <a:rPr lang="en-US" sz="2000" b="1"/>
              <a:t>Applications and Services Logs\Microsoft\Windows</a:t>
            </a:r>
            <a:endParaRPr lang="en-US" sz="2000"/>
          </a:p>
        </p:txBody>
      </p:sp>
      <p:pic>
        <p:nvPicPr>
          <p:cNvPr id="3" name="Picture 2">
            <a:extLst>
              <a:ext uri="{FF2B5EF4-FFF2-40B4-BE49-F238E27FC236}">
                <a16:creationId xmlns:a16="http://schemas.microsoft.com/office/drawing/2014/main" id="{F556AD80-F1A7-4B23-ACEE-2F9DA404058B}"/>
              </a:ext>
            </a:extLst>
          </p:cNvPr>
          <p:cNvPicPr>
            <a:picLocks noChangeAspect="1"/>
          </p:cNvPicPr>
          <p:nvPr/>
        </p:nvPicPr>
        <p:blipFill rotWithShape="1">
          <a:blip r:embed="rId3"/>
          <a:srcRect r="15656" b="-1"/>
          <a:stretch/>
        </p:blipFill>
        <p:spPr>
          <a:xfrm>
            <a:off x="4320226" y="1243905"/>
            <a:ext cx="7666080" cy="5248970"/>
          </a:xfrm>
          <a:prstGeom prst="rect">
            <a:avLst/>
          </a:prstGeom>
        </p:spPr>
      </p:pic>
      <p:cxnSp>
        <p:nvCxnSpPr>
          <p:cNvPr id="5" name="Straight Connector 4">
            <a:extLst>
              <a:ext uri="{FF2B5EF4-FFF2-40B4-BE49-F238E27FC236}">
                <a16:creationId xmlns:a16="http://schemas.microsoft.com/office/drawing/2014/main" id="{80921C48-AA3D-491D-95B1-CF5163BA793B}"/>
              </a:ext>
            </a:extLst>
          </p:cNvPr>
          <p:cNvCxnSpPr/>
          <p:nvPr/>
        </p:nvCxnSpPr>
        <p:spPr>
          <a:xfrm>
            <a:off x="6558844" y="3868390"/>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C16CFC9-4327-4BCB-AB41-AC47DD216F40}"/>
              </a:ext>
            </a:extLst>
          </p:cNvPr>
          <p:cNvCxnSpPr>
            <a:cxnSpLocks/>
          </p:cNvCxnSpPr>
          <p:nvPr/>
        </p:nvCxnSpPr>
        <p:spPr>
          <a:xfrm>
            <a:off x="6558844" y="4565735"/>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69671D1-D785-4CA1-9B04-28E53D3FF624}"/>
              </a:ext>
            </a:extLst>
          </p:cNvPr>
          <p:cNvCxnSpPr>
            <a:cxnSpLocks/>
          </p:cNvCxnSpPr>
          <p:nvPr/>
        </p:nvCxnSpPr>
        <p:spPr>
          <a:xfrm>
            <a:off x="6558844" y="4727372"/>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DB94712-55B6-40E8-81F1-C4A7419124EF}"/>
              </a:ext>
            </a:extLst>
          </p:cNvPr>
          <p:cNvCxnSpPr>
            <a:cxnSpLocks/>
          </p:cNvCxnSpPr>
          <p:nvPr/>
        </p:nvCxnSpPr>
        <p:spPr>
          <a:xfrm>
            <a:off x="6558844" y="4925954"/>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DCF26EA-E24F-40BB-A742-B42394A6EC2B}"/>
              </a:ext>
            </a:extLst>
          </p:cNvPr>
          <p:cNvCxnSpPr>
            <a:cxnSpLocks/>
          </p:cNvCxnSpPr>
          <p:nvPr/>
        </p:nvCxnSpPr>
        <p:spPr>
          <a:xfrm>
            <a:off x="6558844" y="5087590"/>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33F253C-727B-46D9-A47F-A8AC7744E13A}"/>
              </a:ext>
            </a:extLst>
          </p:cNvPr>
          <p:cNvCxnSpPr>
            <a:cxnSpLocks/>
          </p:cNvCxnSpPr>
          <p:nvPr/>
        </p:nvCxnSpPr>
        <p:spPr>
          <a:xfrm>
            <a:off x="6558844" y="5258463"/>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8842B28-ED02-4EAE-A4A8-CAF2C5208585}"/>
              </a:ext>
            </a:extLst>
          </p:cNvPr>
          <p:cNvCxnSpPr>
            <a:cxnSpLocks/>
          </p:cNvCxnSpPr>
          <p:nvPr/>
        </p:nvCxnSpPr>
        <p:spPr>
          <a:xfrm>
            <a:off x="6558844" y="5429335"/>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C68BA88-4A20-49B9-B478-A0BE629D2410}"/>
              </a:ext>
            </a:extLst>
          </p:cNvPr>
          <p:cNvCxnSpPr>
            <a:cxnSpLocks/>
          </p:cNvCxnSpPr>
          <p:nvPr/>
        </p:nvCxnSpPr>
        <p:spPr>
          <a:xfrm>
            <a:off x="6558844" y="5609444"/>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94D2B75-510E-42C0-9D22-255EBE29AA25}"/>
              </a:ext>
            </a:extLst>
          </p:cNvPr>
          <p:cNvCxnSpPr>
            <a:cxnSpLocks/>
          </p:cNvCxnSpPr>
          <p:nvPr/>
        </p:nvCxnSpPr>
        <p:spPr>
          <a:xfrm>
            <a:off x="6558844" y="5780317"/>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177D2D2-0E76-4FCE-A3F9-A30CD00B2540}"/>
              </a:ext>
            </a:extLst>
          </p:cNvPr>
          <p:cNvCxnSpPr>
            <a:cxnSpLocks/>
          </p:cNvCxnSpPr>
          <p:nvPr/>
        </p:nvCxnSpPr>
        <p:spPr>
          <a:xfrm>
            <a:off x="6558844" y="5951190"/>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596845E-7A03-4EA4-9123-88D06794E654}"/>
              </a:ext>
            </a:extLst>
          </p:cNvPr>
          <p:cNvCxnSpPr>
            <a:cxnSpLocks/>
          </p:cNvCxnSpPr>
          <p:nvPr/>
        </p:nvCxnSpPr>
        <p:spPr>
          <a:xfrm>
            <a:off x="6558844" y="6122063"/>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408B447-D737-4CF1-BBB3-28A6871863EE}"/>
              </a:ext>
            </a:extLst>
          </p:cNvPr>
          <p:cNvCxnSpPr>
            <a:cxnSpLocks/>
          </p:cNvCxnSpPr>
          <p:nvPr/>
        </p:nvCxnSpPr>
        <p:spPr>
          <a:xfrm>
            <a:off x="6558844" y="6311408"/>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1D5CCC3-A626-43F9-8389-BC9F600C1B6A}"/>
              </a:ext>
            </a:extLst>
          </p:cNvPr>
          <p:cNvCxnSpPr>
            <a:cxnSpLocks/>
          </p:cNvCxnSpPr>
          <p:nvPr/>
        </p:nvCxnSpPr>
        <p:spPr>
          <a:xfrm>
            <a:off x="6558844" y="6491228"/>
            <a:ext cx="7112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316963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xfrm>
            <a:off x="-1" y="2093"/>
            <a:ext cx="10515600" cy="1306443"/>
          </a:xfrm>
        </p:spPr>
        <p:txBody>
          <a:bodyPr vert="horz" lIns="91440" tIns="45720" rIns="91440" bIns="45720" rtlCol="0" anchor="ctr">
            <a:normAutofit/>
          </a:bodyPr>
          <a:lstStyle/>
          <a:p>
            <a:r>
              <a:rPr lang="en-US" sz="4000"/>
              <a:t>Azure Stack HCI Diagnostics</a:t>
            </a:r>
          </a:p>
        </p:txBody>
      </p:sp>
      <p:pic>
        <p:nvPicPr>
          <p:cNvPr id="4" name="Picture 3">
            <a:extLst>
              <a:ext uri="{FF2B5EF4-FFF2-40B4-BE49-F238E27FC236}">
                <a16:creationId xmlns:a16="http://schemas.microsoft.com/office/drawing/2014/main" id="{90E90235-A4D7-49B2-9F68-999868F6B5D7}"/>
              </a:ext>
            </a:extLst>
          </p:cNvPr>
          <p:cNvPicPr>
            <a:picLocks noChangeAspect="1"/>
          </p:cNvPicPr>
          <p:nvPr/>
        </p:nvPicPr>
        <p:blipFill>
          <a:blip r:embed="rId3"/>
          <a:stretch>
            <a:fillRect/>
          </a:stretch>
        </p:blipFill>
        <p:spPr>
          <a:xfrm>
            <a:off x="3491184" y="1362075"/>
            <a:ext cx="8470146" cy="4133850"/>
          </a:xfrm>
          <a:prstGeom prst="rect">
            <a:avLst/>
          </a:prstGeom>
        </p:spPr>
      </p:pic>
      <p:sp>
        <p:nvSpPr>
          <p:cNvPr id="12" name="TextBox 11">
            <a:extLst>
              <a:ext uri="{FF2B5EF4-FFF2-40B4-BE49-F238E27FC236}">
                <a16:creationId xmlns:a16="http://schemas.microsoft.com/office/drawing/2014/main" id="{418E2856-6795-415F-8F62-9483D7EF66DA}"/>
              </a:ext>
            </a:extLst>
          </p:cNvPr>
          <p:cNvSpPr txBox="1"/>
          <p:nvPr/>
        </p:nvSpPr>
        <p:spPr>
          <a:xfrm>
            <a:off x="167452" y="1930489"/>
            <a:ext cx="4152774" cy="4303464"/>
          </a:xfrm>
          <a:prstGeom prst="rect">
            <a:avLst/>
          </a:prstGeom>
        </p:spPr>
        <p:txBody>
          <a:bodyPr vert="horz" lIns="91440" tIns="45720" rIns="91440" bIns="45720" rtlCol="0">
            <a:normAutofit/>
          </a:bodyPr>
          <a:lstStyle/>
          <a:p>
            <a:pPr>
              <a:lnSpc>
                <a:spcPct val="90000"/>
              </a:lnSpc>
              <a:spcAft>
                <a:spcPts val="600"/>
              </a:spcAft>
              <a:buSzPct val="110000"/>
            </a:pPr>
            <a:endParaRPr lang="en-US" sz="2000"/>
          </a:p>
        </p:txBody>
      </p:sp>
      <p:sp>
        <p:nvSpPr>
          <p:cNvPr id="24" name="TextBox 23">
            <a:extLst>
              <a:ext uri="{FF2B5EF4-FFF2-40B4-BE49-F238E27FC236}">
                <a16:creationId xmlns:a16="http://schemas.microsoft.com/office/drawing/2014/main" id="{67D99F81-1793-47AB-897F-400497BE5F78}"/>
              </a:ext>
            </a:extLst>
          </p:cNvPr>
          <p:cNvSpPr txBox="1"/>
          <p:nvPr/>
        </p:nvSpPr>
        <p:spPr>
          <a:xfrm>
            <a:off x="167452" y="1492884"/>
            <a:ext cx="3394898" cy="2031325"/>
          </a:xfrm>
          <a:prstGeom prst="rect">
            <a:avLst/>
          </a:prstGeom>
          <a:noFill/>
        </p:spPr>
        <p:txBody>
          <a:bodyPr wrap="square">
            <a:spAutoFit/>
          </a:bodyPr>
          <a:lstStyle/>
          <a:p>
            <a:r>
              <a:rPr lang="pt-PT" sz="1400" i="0">
                <a:solidFill>
                  <a:srgbClr val="171717"/>
                </a:solidFill>
                <a:effectLst/>
                <a:latin typeface="Segoe UI" panose="020B0502040204020203" pitchFamily="34" charset="0"/>
              </a:rPr>
              <a:t>Dianostics is in the backplane:</a:t>
            </a:r>
          </a:p>
          <a:p>
            <a:r>
              <a:rPr lang="pt-PT" sz="1400" b="1" i="0">
                <a:solidFill>
                  <a:srgbClr val="171717"/>
                </a:solidFill>
                <a:effectLst/>
                <a:latin typeface="Segoe UI" panose="020B0502040204020203" pitchFamily="34" charset="0"/>
              </a:rPr>
              <a:t> Get-SDDCDiagnosticInfo</a:t>
            </a:r>
          </a:p>
          <a:p>
            <a:r>
              <a:rPr lang="pt-PT" sz="1400">
                <a:solidFill>
                  <a:srgbClr val="171717"/>
                </a:solidFill>
                <a:latin typeface="Segoe UI" panose="020B0502040204020203" pitchFamily="34" charset="0"/>
              </a:rPr>
              <a:t>A powershell cmdlet that is used to gather logs and perfmon health checks for :</a:t>
            </a:r>
          </a:p>
          <a:p>
            <a:pPr marL="285750" indent="-285750">
              <a:buFont typeface="Arial" panose="020B0604020202020204" pitchFamily="34" charset="0"/>
              <a:buChar char="•"/>
            </a:pPr>
            <a:r>
              <a:rPr lang="pt-PT" sz="1400">
                <a:solidFill>
                  <a:srgbClr val="171717"/>
                </a:solidFill>
                <a:latin typeface="Segoe UI" panose="020B0502040204020203" pitchFamily="34" charset="0"/>
              </a:rPr>
              <a:t>Failover Cluster;</a:t>
            </a:r>
          </a:p>
          <a:p>
            <a:pPr marL="285750" indent="-285750">
              <a:buFont typeface="Arial" panose="020B0604020202020204" pitchFamily="34" charset="0"/>
              <a:buChar char="•"/>
            </a:pPr>
            <a:r>
              <a:rPr lang="pt-PT" sz="1400">
                <a:solidFill>
                  <a:srgbClr val="171717"/>
                </a:solidFill>
                <a:latin typeface="Segoe UI" panose="020B0502040204020203" pitchFamily="34" charset="0"/>
              </a:rPr>
              <a:t>Storage spaces Direct;</a:t>
            </a:r>
          </a:p>
          <a:p>
            <a:pPr marL="285750" indent="-285750">
              <a:buFont typeface="Arial" panose="020B0604020202020204" pitchFamily="34" charset="0"/>
              <a:buChar char="•"/>
            </a:pPr>
            <a:r>
              <a:rPr lang="pt-PT" sz="1400">
                <a:solidFill>
                  <a:srgbClr val="171717"/>
                </a:solidFill>
                <a:latin typeface="Segoe UI" panose="020B0502040204020203" pitchFamily="34" charset="0"/>
              </a:rPr>
              <a:t>CSV;</a:t>
            </a:r>
          </a:p>
          <a:p>
            <a:pPr marL="285750" indent="-285750">
              <a:buFont typeface="Arial" panose="020B0604020202020204" pitchFamily="34" charset="0"/>
              <a:buChar char="•"/>
            </a:pPr>
            <a:r>
              <a:rPr lang="pt-PT" sz="1400">
                <a:solidFill>
                  <a:srgbClr val="171717"/>
                </a:solidFill>
                <a:latin typeface="Segoe UI" panose="020B0502040204020203" pitchFamily="34" charset="0"/>
              </a:rPr>
              <a:t>Deduplication</a:t>
            </a:r>
            <a:endParaRPr lang="pt-PT" sz="1400"/>
          </a:p>
        </p:txBody>
      </p:sp>
      <p:sp>
        <p:nvSpPr>
          <p:cNvPr id="26" name="TextBox 25">
            <a:extLst>
              <a:ext uri="{FF2B5EF4-FFF2-40B4-BE49-F238E27FC236}">
                <a16:creationId xmlns:a16="http://schemas.microsoft.com/office/drawing/2014/main" id="{CB7A44D4-0F27-4D83-B1A0-39313A2E66FA}"/>
              </a:ext>
            </a:extLst>
          </p:cNvPr>
          <p:cNvSpPr txBox="1"/>
          <p:nvPr/>
        </p:nvSpPr>
        <p:spPr>
          <a:xfrm>
            <a:off x="2736057" y="6064339"/>
            <a:ext cx="6205536" cy="369332"/>
          </a:xfrm>
          <a:prstGeom prst="rect">
            <a:avLst/>
          </a:prstGeom>
          <a:noFill/>
        </p:spPr>
        <p:txBody>
          <a:bodyPr wrap="square">
            <a:spAutoFit/>
          </a:bodyPr>
          <a:lstStyle/>
          <a:p>
            <a:r>
              <a:rPr lang="pt-PT" b="0" i="0">
                <a:solidFill>
                  <a:srgbClr val="0101FD"/>
                </a:solidFill>
                <a:effectLst/>
                <a:latin typeface="SFMono-Regular"/>
              </a:rPr>
              <a:t>Get-SDDCDiagnosticInfo</a:t>
            </a:r>
            <a:r>
              <a:rPr lang="pt-PT" b="0" i="0">
                <a:solidFill>
                  <a:srgbClr val="007D9A"/>
                </a:solidFill>
                <a:effectLst/>
                <a:latin typeface="SFMono-Regular"/>
              </a:rPr>
              <a:t> -ClusterName</a:t>
            </a:r>
            <a:r>
              <a:rPr lang="pt-PT" b="0" i="0">
                <a:solidFill>
                  <a:srgbClr val="171717"/>
                </a:solidFill>
                <a:effectLst/>
                <a:latin typeface="SFMono-Regular"/>
              </a:rPr>
              <a:t> CLU001</a:t>
            </a:r>
            <a:endParaRPr lang="pt-PT"/>
          </a:p>
        </p:txBody>
      </p:sp>
    </p:spTree>
    <p:extLst>
      <p:ext uri="{BB962C8B-B14F-4D97-AF65-F5344CB8AC3E}">
        <p14:creationId xmlns:p14="http://schemas.microsoft.com/office/powerpoint/2010/main" val="322459514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3C54F4CE-85F0-46ED-80DA-9518C9251A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DADD1FCA-8ACB-4958-81DD-4CDD6D3E19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802086" cy="6858000"/>
          </a:xfrm>
          <a:custGeom>
            <a:avLst/>
            <a:gdLst>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9647 w 5734864"/>
              <a:gd name="connsiteY33" fmla="*/ 1936120 h 6858000"/>
              <a:gd name="connsiteX34" fmla="*/ 714660 w 5734864"/>
              <a:gd name="connsiteY34" fmla="*/ 1982709 h 6858000"/>
              <a:gd name="connsiteX35" fmla="*/ 710759 w 5734864"/>
              <a:gd name="connsiteY35" fmla="*/ 2013010 h 6858000"/>
              <a:gd name="connsiteX36" fmla="*/ 697927 w 5734864"/>
              <a:gd name="connsiteY36" fmla="*/ 2069833 h 6858000"/>
              <a:gd name="connsiteX37" fmla="*/ 693594 w 5734864"/>
              <a:gd name="connsiteY37" fmla="*/ 2103731 h 6858000"/>
              <a:gd name="connsiteX38" fmla="*/ 691109 w 5734864"/>
              <a:gd name="connsiteY38" fmla="*/ 2124027 h 6858000"/>
              <a:gd name="connsiteX39" fmla="*/ 676593 w 5734864"/>
              <a:gd name="connsiteY39" fmla="*/ 2176182 h 6858000"/>
              <a:gd name="connsiteX40" fmla="*/ 633227 w 5734864"/>
              <a:gd name="connsiteY40" fmla="*/ 2258036 h 6858000"/>
              <a:gd name="connsiteX41" fmla="*/ 625564 w 5734864"/>
              <a:gd name="connsiteY41" fmla="*/ 2284567 h 6858000"/>
              <a:gd name="connsiteX42" fmla="*/ 627074 w 5734864"/>
              <a:gd name="connsiteY42" fmla="*/ 2289605 h 6858000"/>
              <a:gd name="connsiteX43" fmla="*/ 614574 w 5734864"/>
              <a:gd name="connsiteY43" fmla="*/ 2308717 h 6858000"/>
              <a:gd name="connsiteX44" fmla="*/ 606890 w 5734864"/>
              <a:gd name="connsiteY44" fmla="*/ 2320662 h 6858000"/>
              <a:gd name="connsiteX45" fmla="*/ 605558 w 5734864"/>
              <a:gd name="connsiteY45" fmla="*/ 2327897 h 6858000"/>
              <a:gd name="connsiteX46" fmla="*/ 602202 w 5734864"/>
              <a:gd name="connsiteY46" fmla="*/ 2357749 h 6858000"/>
              <a:gd name="connsiteX47" fmla="*/ 600213 w 5734864"/>
              <a:gd name="connsiteY47" fmla="*/ 2364905 h 6858000"/>
              <a:gd name="connsiteX48" fmla="*/ 597160 w 5734864"/>
              <a:gd name="connsiteY48" fmla="*/ 2388351 h 6858000"/>
              <a:gd name="connsiteX49" fmla="*/ 597982 w 5734864"/>
              <a:gd name="connsiteY49" fmla="*/ 2402296 h 6858000"/>
              <a:gd name="connsiteX50" fmla="*/ 593150 w 5734864"/>
              <a:gd name="connsiteY50" fmla="*/ 2420015 h 6858000"/>
              <a:gd name="connsiteX51" fmla="*/ 592833 w 5734864"/>
              <a:gd name="connsiteY51" fmla="*/ 2422749 h 6858000"/>
              <a:gd name="connsiteX52" fmla="*/ 594479 w 5734864"/>
              <a:gd name="connsiteY52" fmla="*/ 2426002 h 6858000"/>
              <a:gd name="connsiteX53" fmla="*/ 591963 w 5734864"/>
              <a:gd name="connsiteY53" fmla="*/ 2431950 h 6858000"/>
              <a:gd name="connsiteX54" fmla="*/ 591544 w 5734864"/>
              <a:gd name="connsiteY54" fmla="*/ 2433897 h 6858000"/>
              <a:gd name="connsiteX55" fmla="*/ 589519 w 5734864"/>
              <a:gd name="connsiteY55" fmla="*/ 2451398 h 6858000"/>
              <a:gd name="connsiteX56" fmla="*/ 590037 w 5734864"/>
              <a:gd name="connsiteY56" fmla="*/ 2455536 h 6858000"/>
              <a:gd name="connsiteX57" fmla="*/ 588179 w 5734864"/>
              <a:gd name="connsiteY57" fmla="*/ 2462981 h 6858000"/>
              <a:gd name="connsiteX58" fmla="*/ 583434 w 5734864"/>
              <a:gd name="connsiteY58" fmla="*/ 2503991 h 6858000"/>
              <a:gd name="connsiteX59" fmla="*/ 567942 w 5734864"/>
              <a:gd name="connsiteY59" fmla="*/ 2652936 h 6858000"/>
              <a:gd name="connsiteX60" fmla="*/ 573869 w 5734864"/>
              <a:gd name="connsiteY60" fmla="*/ 2670188 h 6858000"/>
              <a:gd name="connsiteX61" fmla="*/ 575243 w 5734864"/>
              <a:gd name="connsiteY61" fmla="*/ 2688114 h 6858000"/>
              <a:gd name="connsiteX62" fmla="*/ 573824 w 5734864"/>
              <a:gd name="connsiteY62" fmla="*/ 2689856 h 6858000"/>
              <a:gd name="connsiteX63" fmla="*/ 570699 w 5734864"/>
              <a:gd name="connsiteY63" fmla="*/ 2709353 h 6858000"/>
              <a:gd name="connsiteX64" fmla="*/ 573192 w 5734864"/>
              <a:gd name="connsiteY64" fmla="*/ 2714527 h 6858000"/>
              <a:gd name="connsiteX65" fmla="*/ 572044 w 5734864"/>
              <a:gd name="connsiteY65" fmla="*/ 2728187 h 6858000"/>
              <a:gd name="connsiteX66" fmla="*/ 572465 w 5734864"/>
              <a:gd name="connsiteY66" fmla="*/ 2755863 h 6858000"/>
              <a:gd name="connsiteX67" fmla="*/ 570028 w 5734864"/>
              <a:gd name="connsiteY67" fmla="*/ 2760324 h 6858000"/>
              <a:gd name="connsiteX68" fmla="*/ 566748 w 5734864"/>
              <a:gd name="connsiteY68" fmla="*/ 2800948 h 6858000"/>
              <a:gd name="connsiteX69" fmla="*/ 565509 w 5734864"/>
              <a:gd name="connsiteY69" fmla="*/ 2801167 h 6858000"/>
              <a:gd name="connsiteX70" fmla="*/ 559367 w 5734864"/>
              <a:gd name="connsiteY70" fmla="*/ 2811129 h 6858000"/>
              <a:gd name="connsiteX71" fmla="*/ 550354 w 5734864"/>
              <a:gd name="connsiteY71" fmla="*/ 2830949 h 6858000"/>
              <a:gd name="connsiteX72" fmla="*/ 514795 w 5734864"/>
              <a:gd name="connsiteY72" fmla="*/ 2872433 h 6858000"/>
              <a:gd name="connsiteX73" fmla="*/ 509875 w 5734864"/>
              <a:gd name="connsiteY73" fmla="*/ 2923099 h 6858000"/>
              <a:gd name="connsiteX74" fmla="*/ 509577 w 5734864"/>
              <a:gd name="connsiteY74" fmla="*/ 2923197 h 6858000"/>
              <a:gd name="connsiteX75" fmla="*/ 507597 w 5734864"/>
              <a:gd name="connsiteY75" fmla="*/ 2931868 h 6858000"/>
              <a:gd name="connsiteX76" fmla="*/ 507379 w 5734864"/>
              <a:gd name="connsiteY76" fmla="*/ 2938322 h 6858000"/>
              <a:gd name="connsiteX77" fmla="*/ 504725 w 5734864"/>
              <a:gd name="connsiteY77" fmla="*/ 2954519 h 6858000"/>
              <a:gd name="connsiteX78" fmla="*/ 502018 w 5734864"/>
              <a:gd name="connsiteY78" fmla="*/ 2959643 h 6858000"/>
              <a:gd name="connsiteX79" fmla="*/ 498360 w 5734864"/>
              <a:gd name="connsiteY79" fmla="*/ 2961019 h 6858000"/>
              <a:gd name="connsiteX80" fmla="*/ 498483 w 5734864"/>
              <a:gd name="connsiteY80" fmla="*/ 2962590 h 6858000"/>
              <a:gd name="connsiteX81" fmla="*/ 484403 w 5734864"/>
              <a:gd name="connsiteY81" fmla="*/ 2990538 h 6858000"/>
              <a:gd name="connsiteX82" fmla="*/ 463075 w 5734864"/>
              <a:gd name="connsiteY82" fmla="*/ 3055956 h 6858000"/>
              <a:gd name="connsiteX83" fmla="*/ 455013 w 5734864"/>
              <a:gd name="connsiteY83" fmla="*/ 3094482 h 6858000"/>
              <a:gd name="connsiteX84" fmla="*/ 428391 w 5734864"/>
              <a:gd name="connsiteY84" fmla="*/ 3198850 h 6858000"/>
              <a:gd name="connsiteX85" fmla="*/ 401440 w 5734864"/>
              <a:gd name="connsiteY85" fmla="*/ 3307560 h 6858000"/>
              <a:gd name="connsiteX86" fmla="*/ 386076 w 5734864"/>
              <a:gd name="connsiteY86" fmla="*/ 3373943 h 6858000"/>
              <a:gd name="connsiteX87" fmla="*/ 374726 w 5734864"/>
              <a:gd name="connsiteY87" fmla="*/ 3381364 h 6858000"/>
              <a:gd name="connsiteX88" fmla="*/ 369145 w 5734864"/>
              <a:gd name="connsiteY88" fmla="*/ 3383729 h 6858000"/>
              <a:gd name="connsiteX89" fmla="*/ 364294 w 5734864"/>
              <a:gd name="connsiteY89" fmla="*/ 3414159 h 6858000"/>
              <a:gd name="connsiteX90" fmla="*/ 366450 w 5734864"/>
              <a:gd name="connsiteY90" fmla="*/ 3436925 h 6858000"/>
              <a:gd name="connsiteX91" fmla="*/ 351743 w 5734864"/>
              <a:gd name="connsiteY91" fmla="*/ 3521619 h 6858000"/>
              <a:gd name="connsiteX92" fmla="*/ 345784 w 5734864"/>
              <a:gd name="connsiteY92" fmla="*/ 3603757 h 6858000"/>
              <a:gd name="connsiteX93" fmla="*/ 344198 w 5734864"/>
              <a:gd name="connsiteY93" fmla="*/ 3652424 h 6858000"/>
              <a:gd name="connsiteX94" fmla="*/ 352450 w 5734864"/>
              <a:gd name="connsiteY94" fmla="*/ 3665222 h 6858000"/>
              <a:gd name="connsiteX95" fmla="*/ 342621 w 5734864"/>
              <a:gd name="connsiteY95" fmla="*/ 3700804 h 6858000"/>
              <a:gd name="connsiteX96" fmla="*/ 341514 w 5734864"/>
              <a:gd name="connsiteY96" fmla="*/ 3734774 h 6858000"/>
              <a:gd name="connsiteX97" fmla="*/ 340607 w 5734864"/>
              <a:gd name="connsiteY97" fmla="*/ 3785153 h 6858000"/>
              <a:gd name="connsiteX98" fmla="*/ 340707 w 5734864"/>
              <a:gd name="connsiteY98" fmla="*/ 3788177 h 6858000"/>
              <a:gd name="connsiteX99" fmla="*/ 340361 w 5734864"/>
              <a:gd name="connsiteY99" fmla="*/ 3798803 h 6858000"/>
              <a:gd name="connsiteX100" fmla="*/ 339642 w 5734864"/>
              <a:gd name="connsiteY100" fmla="*/ 3838750 h 6858000"/>
              <a:gd name="connsiteX101" fmla="*/ 360295 w 5734864"/>
              <a:gd name="connsiteY101" fmla="*/ 4015196 h 6858000"/>
              <a:gd name="connsiteX102" fmla="*/ 339043 w 5734864"/>
              <a:gd name="connsiteY102" fmla="*/ 4052778 h 6858000"/>
              <a:gd name="connsiteX103" fmla="*/ 339343 w 5734864"/>
              <a:gd name="connsiteY103" fmla="*/ 4096257 h 6858000"/>
              <a:gd name="connsiteX104" fmla="*/ 340786 w 5734864"/>
              <a:gd name="connsiteY104" fmla="*/ 4321136 h 6858000"/>
              <a:gd name="connsiteX105" fmla="*/ 343158 w 5734864"/>
              <a:gd name="connsiteY105" fmla="*/ 4429174 h 6858000"/>
              <a:gd name="connsiteX106" fmla="*/ 334599 w 5734864"/>
              <a:gd name="connsiteY106" fmla="*/ 4449938 h 6858000"/>
              <a:gd name="connsiteX107" fmla="*/ 332890 w 5734864"/>
              <a:gd name="connsiteY107" fmla="*/ 4453515 h 6858000"/>
              <a:gd name="connsiteX108" fmla="*/ 331105 w 5734864"/>
              <a:gd name="connsiteY108" fmla="*/ 4467941 h 6858000"/>
              <a:gd name="connsiteX109" fmla="*/ 324289 w 5734864"/>
              <a:gd name="connsiteY109" fmla="*/ 4471861 h 6858000"/>
              <a:gd name="connsiteX110" fmla="*/ 317079 w 5734864"/>
              <a:gd name="connsiteY110" fmla="*/ 4493468 h 6858000"/>
              <a:gd name="connsiteX111" fmla="*/ 315557 w 5734864"/>
              <a:gd name="connsiteY111" fmla="*/ 4520067 h 6858000"/>
              <a:gd name="connsiteX112" fmla="*/ 315240 w 5734864"/>
              <a:gd name="connsiteY112" fmla="*/ 4536872 h 6858000"/>
              <a:gd name="connsiteX113" fmla="*/ 316200 w 5734864"/>
              <a:gd name="connsiteY113" fmla="*/ 4538297 h 6858000"/>
              <a:gd name="connsiteX114" fmla="*/ 317507 w 5734864"/>
              <a:gd name="connsiteY114" fmla="*/ 4547582 h 6858000"/>
              <a:gd name="connsiteX115" fmla="*/ 323078 w 5734864"/>
              <a:gd name="connsiteY115" fmla="*/ 4592102 h 6858000"/>
              <a:gd name="connsiteX116" fmla="*/ 328722 w 5734864"/>
              <a:gd name="connsiteY116" fmla="*/ 4667914 h 6858000"/>
              <a:gd name="connsiteX117" fmla="*/ 335597 w 5734864"/>
              <a:gd name="connsiteY117" fmla="*/ 4695035 h 6858000"/>
              <a:gd name="connsiteX118" fmla="*/ 339485 w 5734864"/>
              <a:gd name="connsiteY118" fmla="*/ 4695979 h 6858000"/>
              <a:gd name="connsiteX119" fmla="*/ 341089 w 5734864"/>
              <a:gd name="connsiteY119" fmla="*/ 4704268 h 6858000"/>
              <a:gd name="connsiteX120" fmla="*/ 342177 w 5734864"/>
              <a:gd name="connsiteY120" fmla="*/ 4706060 h 6858000"/>
              <a:gd name="connsiteX121" fmla="*/ 347751 w 5734864"/>
              <a:gd name="connsiteY121" fmla="*/ 4716754 h 6858000"/>
              <a:gd name="connsiteX122" fmla="*/ 344125 w 5734864"/>
              <a:gd name="connsiteY122" fmla="*/ 4764669 h 6858000"/>
              <a:gd name="connsiteX123" fmla="*/ 340188 w 5734864"/>
              <a:gd name="connsiteY123" fmla="*/ 4779386 h 6858000"/>
              <a:gd name="connsiteX124" fmla="*/ 335146 w 5734864"/>
              <a:gd name="connsiteY124" fmla="*/ 4787491 h 6858000"/>
              <a:gd name="connsiteX125" fmla="*/ 319124 w 5734864"/>
              <a:gd name="connsiteY125" fmla="*/ 4843514 h 6858000"/>
              <a:gd name="connsiteX126" fmla="*/ 305956 w 5734864"/>
              <a:gd name="connsiteY126" fmla="*/ 4881505 h 6858000"/>
              <a:gd name="connsiteX127" fmla="*/ 301062 w 5734864"/>
              <a:gd name="connsiteY127" fmla="*/ 4889332 h 6858000"/>
              <a:gd name="connsiteX128" fmla="*/ 302141 w 5734864"/>
              <a:gd name="connsiteY128" fmla="*/ 4899400 h 6858000"/>
              <a:gd name="connsiteX129" fmla="*/ 304424 w 5734864"/>
              <a:gd name="connsiteY129" fmla="*/ 4902664 h 6858000"/>
              <a:gd name="connsiteX130" fmla="*/ 293123 w 5734864"/>
              <a:gd name="connsiteY130" fmla="*/ 4932769 h 6858000"/>
              <a:gd name="connsiteX131" fmla="*/ 292275 w 5734864"/>
              <a:gd name="connsiteY131" fmla="*/ 4936482 h 6858000"/>
              <a:gd name="connsiteX132" fmla="*/ 288304 w 5734864"/>
              <a:gd name="connsiteY132" fmla="*/ 4962325 h 6858000"/>
              <a:gd name="connsiteX133" fmla="*/ 287420 w 5734864"/>
              <a:gd name="connsiteY133" fmla="*/ 5042193 h 6858000"/>
              <a:gd name="connsiteX134" fmla="*/ 287020 w 5734864"/>
              <a:gd name="connsiteY134" fmla="*/ 5065655 h 6858000"/>
              <a:gd name="connsiteX135" fmla="*/ 288488 w 5734864"/>
              <a:gd name="connsiteY135" fmla="*/ 5082216 h 6858000"/>
              <a:gd name="connsiteX136" fmla="*/ 282763 w 5734864"/>
              <a:gd name="connsiteY136" fmla="*/ 5127114 h 6858000"/>
              <a:gd name="connsiteX137" fmla="*/ 269316 w 5734864"/>
              <a:gd name="connsiteY137" fmla="*/ 5202682 h 6858000"/>
              <a:gd name="connsiteX138" fmla="*/ 269174 w 5734864"/>
              <a:gd name="connsiteY138" fmla="*/ 5230835 h 6858000"/>
              <a:gd name="connsiteX139" fmla="*/ 272679 w 5734864"/>
              <a:gd name="connsiteY139" fmla="*/ 5232660 h 6858000"/>
              <a:gd name="connsiteX140" fmla="*/ 272160 w 5734864"/>
              <a:gd name="connsiteY140" fmla="*/ 5241150 h 6858000"/>
              <a:gd name="connsiteX141" fmla="*/ 272760 w 5734864"/>
              <a:gd name="connsiteY141" fmla="*/ 5243156 h 6858000"/>
              <a:gd name="connsiteX142" fmla="*/ 275462 w 5734864"/>
              <a:gd name="connsiteY142" fmla="*/ 5254919 h 6858000"/>
              <a:gd name="connsiteX143" fmla="*/ 262897 w 5734864"/>
              <a:gd name="connsiteY143" fmla="*/ 5286259 h 6858000"/>
              <a:gd name="connsiteX144" fmla="*/ 252761 w 5734864"/>
              <a:gd name="connsiteY144" fmla="*/ 5357801 h 6858000"/>
              <a:gd name="connsiteX145" fmla="*/ 242360 w 5734864"/>
              <a:gd name="connsiteY145" fmla="*/ 5460080 h 6858000"/>
              <a:gd name="connsiteX146" fmla="*/ 229880 w 5734864"/>
              <a:gd name="connsiteY146" fmla="*/ 5539714 h 6858000"/>
              <a:gd name="connsiteX147" fmla="*/ 204283 w 5734864"/>
              <a:gd name="connsiteY147" fmla="*/ 5639080 h 6858000"/>
              <a:gd name="connsiteX148" fmla="*/ 198948 w 5734864"/>
              <a:gd name="connsiteY148" fmla="*/ 5710958 h 6858000"/>
              <a:gd name="connsiteX149" fmla="*/ 192367 w 5734864"/>
              <a:gd name="connsiteY149" fmla="*/ 5719859 h 6858000"/>
              <a:gd name="connsiteX150" fmla="*/ 188035 w 5734864"/>
              <a:gd name="connsiteY150" fmla="*/ 5729935 h 6858000"/>
              <a:gd name="connsiteX151" fmla="*/ 188428 w 5734864"/>
              <a:gd name="connsiteY151" fmla="*/ 5731182 h 6858000"/>
              <a:gd name="connsiteX152" fmla="*/ 181635 w 5734864"/>
              <a:gd name="connsiteY152" fmla="*/ 5753538 h 6858000"/>
              <a:gd name="connsiteX153" fmla="*/ 169744 w 5734864"/>
              <a:gd name="connsiteY153" fmla="*/ 5796307 h 6858000"/>
              <a:gd name="connsiteX154" fmla="*/ 170351 w 5734864"/>
              <a:gd name="connsiteY154" fmla="*/ 5796644 h 6858000"/>
              <a:gd name="connsiteX155" fmla="*/ 171559 w 5734864"/>
              <a:gd name="connsiteY155" fmla="*/ 5803435 h 6858000"/>
              <a:gd name="connsiteX156" fmla="*/ 172284 w 5734864"/>
              <a:gd name="connsiteY156" fmla="*/ 5816391 h 6858000"/>
              <a:gd name="connsiteX157" fmla="*/ 182542 w 5734864"/>
              <a:gd name="connsiteY157" fmla="*/ 5846382 h 6858000"/>
              <a:gd name="connsiteX158" fmla="*/ 175877 w 5734864"/>
              <a:gd name="connsiteY158" fmla="*/ 5871336 h 6858000"/>
              <a:gd name="connsiteX159" fmla="*/ 174910 w 5734864"/>
              <a:gd name="connsiteY159" fmla="*/ 5876376 h 6858000"/>
              <a:gd name="connsiteX160" fmla="*/ 175047 w 5734864"/>
              <a:gd name="connsiteY160" fmla="*/ 5876483 h 6858000"/>
              <a:gd name="connsiteX161" fmla="*/ 174335 w 5734864"/>
              <a:gd name="connsiteY161" fmla="*/ 5881814 h 6858000"/>
              <a:gd name="connsiteX162" fmla="*/ 171273 w 5734864"/>
              <a:gd name="connsiteY162" fmla="*/ 5895339 h 6858000"/>
              <a:gd name="connsiteX163" fmla="*/ 171658 w 5734864"/>
              <a:gd name="connsiteY163" fmla="*/ 5898749 h 6858000"/>
              <a:gd name="connsiteX164" fmla="*/ 174658 w 5734864"/>
              <a:gd name="connsiteY164" fmla="*/ 5919558 h 6858000"/>
              <a:gd name="connsiteX165" fmla="*/ 169099 w 5734864"/>
              <a:gd name="connsiteY165" fmla="*/ 5984417 h 6858000"/>
              <a:gd name="connsiteX166" fmla="*/ 162007 w 5734864"/>
              <a:gd name="connsiteY166" fmla="*/ 6049043 h 6858000"/>
              <a:gd name="connsiteX167" fmla="*/ 156875 w 5734864"/>
              <a:gd name="connsiteY167" fmla="*/ 6114000 h 6858000"/>
              <a:gd name="connsiteX168" fmla="*/ 165441 w 5734864"/>
              <a:gd name="connsiteY168" fmla="*/ 6146938 h 6858000"/>
              <a:gd name="connsiteX169" fmla="*/ 165177 w 5734864"/>
              <a:gd name="connsiteY169" fmla="*/ 6150658 h 6858000"/>
              <a:gd name="connsiteX170" fmla="*/ 161772 w 5734864"/>
              <a:gd name="connsiteY170" fmla="*/ 6160011 h 6858000"/>
              <a:gd name="connsiteX171" fmla="*/ 160051 w 5734864"/>
              <a:gd name="connsiteY171" fmla="*/ 6163393 h 6858000"/>
              <a:gd name="connsiteX172" fmla="*/ 158473 w 5734864"/>
              <a:gd name="connsiteY172" fmla="*/ 6168628 h 6858000"/>
              <a:gd name="connsiteX173" fmla="*/ 158573 w 5734864"/>
              <a:gd name="connsiteY173" fmla="*/ 6168799 h 6858000"/>
              <a:gd name="connsiteX174" fmla="*/ 146463 w 5734864"/>
              <a:gd name="connsiteY174" fmla="*/ 6196671 h 6858000"/>
              <a:gd name="connsiteX175" fmla="*/ 150209 w 5734864"/>
              <a:gd name="connsiteY175" fmla="*/ 6232365 h 6858000"/>
              <a:gd name="connsiteX176" fmla="*/ 148544 w 5734864"/>
              <a:gd name="connsiteY176" fmla="*/ 6246162 h 6858000"/>
              <a:gd name="connsiteX177" fmla="*/ 148403 w 5734864"/>
              <a:gd name="connsiteY177" fmla="*/ 6253754 h 6858000"/>
              <a:gd name="connsiteX178" fmla="*/ 138880 w 5734864"/>
              <a:gd name="connsiteY178" fmla="*/ 6276449 h 6858000"/>
              <a:gd name="connsiteX179" fmla="*/ 138683 w 5734864"/>
              <a:gd name="connsiteY179" fmla="*/ 6279721 h 6858000"/>
              <a:gd name="connsiteX180" fmla="*/ 130721 w 5734864"/>
              <a:gd name="connsiteY180" fmla="*/ 6293675 h 6858000"/>
              <a:gd name="connsiteX181" fmla="*/ 120717 w 5734864"/>
              <a:gd name="connsiteY181" fmla="*/ 6313967 h 6858000"/>
              <a:gd name="connsiteX182" fmla="*/ 120841 w 5734864"/>
              <a:gd name="connsiteY182" fmla="*/ 6315437 h 6858000"/>
              <a:gd name="connsiteX183" fmla="*/ 115208 w 5734864"/>
              <a:gd name="connsiteY183" fmla="*/ 6324024 h 6858000"/>
              <a:gd name="connsiteX184" fmla="*/ 101217 w 5734864"/>
              <a:gd name="connsiteY184" fmla="*/ 6365923 h 6858000"/>
              <a:gd name="connsiteX185" fmla="*/ 74946 w 5734864"/>
              <a:gd name="connsiteY185" fmla="*/ 6556817 h 6858000"/>
              <a:gd name="connsiteX186" fmla="*/ 16001 w 5734864"/>
              <a:gd name="connsiteY186" fmla="*/ 6808678 h 6858000"/>
              <a:gd name="connsiteX187" fmla="*/ 0 w 5734864"/>
              <a:gd name="connsiteY187" fmla="*/ 6858000 h 6858000"/>
              <a:gd name="connsiteX188" fmla="*/ 5734864 w 5734864"/>
              <a:gd name="connsiteY188" fmla="*/ 685800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4660 w 5734864"/>
              <a:gd name="connsiteY33" fmla="*/ 1982709 h 6858000"/>
              <a:gd name="connsiteX34" fmla="*/ 710759 w 5734864"/>
              <a:gd name="connsiteY34" fmla="*/ 2013010 h 6858000"/>
              <a:gd name="connsiteX35" fmla="*/ 697927 w 5734864"/>
              <a:gd name="connsiteY35" fmla="*/ 2069833 h 6858000"/>
              <a:gd name="connsiteX36" fmla="*/ 693594 w 5734864"/>
              <a:gd name="connsiteY36" fmla="*/ 2103731 h 6858000"/>
              <a:gd name="connsiteX37" fmla="*/ 691109 w 5734864"/>
              <a:gd name="connsiteY37" fmla="*/ 2124027 h 6858000"/>
              <a:gd name="connsiteX38" fmla="*/ 676593 w 5734864"/>
              <a:gd name="connsiteY38" fmla="*/ 2176182 h 6858000"/>
              <a:gd name="connsiteX39" fmla="*/ 633227 w 5734864"/>
              <a:gd name="connsiteY39" fmla="*/ 2258036 h 6858000"/>
              <a:gd name="connsiteX40" fmla="*/ 625564 w 5734864"/>
              <a:gd name="connsiteY40" fmla="*/ 2284567 h 6858000"/>
              <a:gd name="connsiteX41" fmla="*/ 627074 w 5734864"/>
              <a:gd name="connsiteY41" fmla="*/ 2289605 h 6858000"/>
              <a:gd name="connsiteX42" fmla="*/ 614574 w 5734864"/>
              <a:gd name="connsiteY42" fmla="*/ 2308717 h 6858000"/>
              <a:gd name="connsiteX43" fmla="*/ 606890 w 5734864"/>
              <a:gd name="connsiteY43" fmla="*/ 2320662 h 6858000"/>
              <a:gd name="connsiteX44" fmla="*/ 605558 w 5734864"/>
              <a:gd name="connsiteY44" fmla="*/ 2327897 h 6858000"/>
              <a:gd name="connsiteX45" fmla="*/ 602202 w 5734864"/>
              <a:gd name="connsiteY45" fmla="*/ 2357749 h 6858000"/>
              <a:gd name="connsiteX46" fmla="*/ 600213 w 5734864"/>
              <a:gd name="connsiteY46" fmla="*/ 2364905 h 6858000"/>
              <a:gd name="connsiteX47" fmla="*/ 597160 w 5734864"/>
              <a:gd name="connsiteY47" fmla="*/ 2388351 h 6858000"/>
              <a:gd name="connsiteX48" fmla="*/ 597982 w 5734864"/>
              <a:gd name="connsiteY48" fmla="*/ 2402296 h 6858000"/>
              <a:gd name="connsiteX49" fmla="*/ 593150 w 5734864"/>
              <a:gd name="connsiteY49" fmla="*/ 2420015 h 6858000"/>
              <a:gd name="connsiteX50" fmla="*/ 592833 w 5734864"/>
              <a:gd name="connsiteY50" fmla="*/ 2422749 h 6858000"/>
              <a:gd name="connsiteX51" fmla="*/ 594479 w 5734864"/>
              <a:gd name="connsiteY51" fmla="*/ 2426002 h 6858000"/>
              <a:gd name="connsiteX52" fmla="*/ 591963 w 5734864"/>
              <a:gd name="connsiteY52" fmla="*/ 2431950 h 6858000"/>
              <a:gd name="connsiteX53" fmla="*/ 591544 w 5734864"/>
              <a:gd name="connsiteY53" fmla="*/ 2433897 h 6858000"/>
              <a:gd name="connsiteX54" fmla="*/ 589519 w 5734864"/>
              <a:gd name="connsiteY54" fmla="*/ 2451398 h 6858000"/>
              <a:gd name="connsiteX55" fmla="*/ 590037 w 5734864"/>
              <a:gd name="connsiteY55" fmla="*/ 2455536 h 6858000"/>
              <a:gd name="connsiteX56" fmla="*/ 588179 w 5734864"/>
              <a:gd name="connsiteY56" fmla="*/ 2462981 h 6858000"/>
              <a:gd name="connsiteX57" fmla="*/ 583434 w 5734864"/>
              <a:gd name="connsiteY57" fmla="*/ 2503991 h 6858000"/>
              <a:gd name="connsiteX58" fmla="*/ 567942 w 5734864"/>
              <a:gd name="connsiteY58" fmla="*/ 2652936 h 6858000"/>
              <a:gd name="connsiteX59" fmla="*/ 573869 w 5734864"/>
              <a:gd name="connsiteY59" fmla="*/ 2670188 h 6858000"/>
              <a:gd name="connsiteX60" fmla="*/ 575243 w 5734864"/>
              <a:gd name="connsiteY60" fmla="*/ 2688114 h 6858000"/>
              <a:gd name="connsiteX61" fmla="*/ 573824 w 5734864"/>
              <a:gd name="connsiteY61" fmla="*/ 2689856 h 6858000"/>
              <a:gd name="connsiteX62" fmla="*/ 570699 w 5734864"/>
              <a:gd name="connsiteY62" fmla="*/ 2709353 h 6858000"/>
              <a:gd name="connsiteX63" fmla="*/ 573192 w 5734864"/>
              <a:gd name="connsiteY63" fmla="*/ 2714527 h 6858000"/>
              <a:gd name="connsiteX64" fmla="*/ 572044 w 5734864"/>
              <a:gd name="connsiteY64" fmla="*/ 2728187 h 6858000"/>
              <a:gd name="connsiteX65" fmla="*/ 572465 w 5734864"/>
              <a:gd name="connsiteY65" fmla="*/ 2755863 h 6858000"/>
              <a:gd name="connsiteX66" fmla="*/ 570028 w 5734864"/>
              <a:gd name="connsiteY66" fmla="*/ 2760324 h 6858000"/>
              <a:gd name="connsiteX67" fmla="*/ 566748 w 5734864"/>
              <a:gd name="connsiteY67" fmla="*/ 2800948 h 6858000"/>
              <a:gd name="connsiteX68" fmla="*/ 565509 w 5734864"/>
              <a:gd name="connsiteY68" fmla="*/ 2801167 h 6858000"/>
              <a:gd name="connsiteX69" fmla="*/ 559367 w 5734864"/>
              <a:gd name="connsiteY69" fmla="*/ 2811129 h 6858000"/>
              <a:gd name="connsiteX70" fmla="*/ 550354 w 5734864"/>
              <a:gd name="connsiteY70" fmla="*/ 2830949 h 6858000"/>
              <a:gd name="connsiteX71" fmla="*/ 514795 w 5734864"/>
              <a:gd name="connsiteY71" fmla="*/ 2872433 h 6858000"/>
              <a:gd name="connsiteX72" fmla="*/ 509875 w 5734864"/>
              <a:gd name="connsiteY72" fmla="*/ 2923099 h 6858000"/>
              <a:gd name="connsiteX73" fmla="*/ 509577 w 5734864"/>
              <a:gd name="connsiteY73" fmla="*/ 2923197 h 6858000"/>
              <a:gd name="connsiteX74" fmla="*/ 507597 w 5734864"/>
              <a:gd name="connsiteY74" fmla="*/ 2931868 h 6858000"/>
              <a:gd name="connsiteX75" fmla="*/ 507379 w 5734864"/>
              <a:gd name="connsiteY75" fmla="*/ 2938322 h 6858000"/>
              <a:gd name="connsiteX76" fmla="*/ 504725 w 5734864"/>
              <a:gd name="connsiteY76" fmla="*/ 2954519 h 6858000"/>
              <a:gd name="connsiteX77" fmla="*/ 502018 w 5734864"/>
              <a:gd name="connsiteY77" fmla="*/ 2959643 h 6858000"/>
              <a:gd name="connsiteX78" fmla="*/ 498360 w 5734864"/>
              <a:gd name="connsiteY78" fmla="*/ 2961019 h 6858000"/>
              <a:gd name="connsiteX79" fmla="*/ 498483 w 5734864"/>
              <a:gd name="connsiteY79" fmla="*/ 2962590 h 6858000"/>
              <a:gd name="connsiteX80" fmla="*/ 484403 w 5734864"/>
              <a:gd name="connsiteY80" fmla="*/ 2990538 h 6858000"/>
              <a:gd name="connsiteX81" fmla="*/ 463075 w 5734864"/>
              <a:gd name="connsiteY81" fmla="*/ 3055956 h 6858000"/>
              <a:gd name="connsiteX82" fmla="*/ 455013 w 5734864"/>
              <a:gd name="connsiteY82" fmla="*/ 3094482 h 6858000"/>
              <a:gd name="connsiteX83" fmla="*/ 428391 w 5734864"/>
              <a:gd name="connsiteY83" fmla="*/ 3198850 h 6858000"/>
              <a:gd name="connsiteX84" fmla="*/ 401440 w 5734864"/>
              <a:gd name="connsiteY84" fmla="*/ 3307560 h 6858000"/>
              <a:gd name="connsiteX85" fmla="*/ 386076 w 5734864"/>
              <a:gd name="connsiteY85" fmla="*/ 3373943 h 6858000"/>
              <a:gd name="connsiteX86" fmla="*/ 374726 w 5734864"/>
              <a:gd name="connsiteY86" fmla="*/ 3381364 h 6858000"/>
              <a:gd name="connsiteX87" fmla="*/ 369145 w 5734864"/>
              <a:gd name="connsiteY87" fmla="*/ 3383729 h 6858000"/>
              <a:gd name="connsiteX88" fmla="*/ 364294 w 5734864"/>
              <a:gd name="connsiteY88" fmla="*/ 3414159 h 6858000"/>
              <a:gd name="connsiteX89" fmla="*/ 366450 w 5734864"/>
              <a:gd name="connsiteY89" fmla="*/ 3436925 h 6858000"/>
              <a:gd name="connsiteX90" fmla="*/ 351743 w 5734864"/>
              <a:gd name="connsiteY90" fmla="*/ 3521619 h 6858000"/>
              <a:gd name="connsiteX91" fmla="*/ 345784 w 5734864"/>
              <a:gd name="connsiteY91" fmla="*/ 3603757 h 6858000"/>
              <a:gd name="connsiteX92" fmla="*/ 344198 w 5734864"/>
              <a:gd name="connsiteY92" fmla="*/ 3652424 h 6858000"/>
              <a:gd name="connsiteX93" fmla="*/ 352450 w 5734864"/>
              <a:gd name="connsiteY93" fmla="*/ 3665222 h 6858000"/>
              <a:gd name="connsiteX94" fmla="*/ 342621 w 5734864"/>
              <a:gd name="connsiteY94" fmla="*/ 3700804 h 6858000"/>
              <a:gd name="connsiteX95" fmla="*/ 341514 w 5734864"/>
              <a:gd name="connsiteY95" fmla="*/ 3734774 h 6858000"/>
              <a:gd name="connsiteX96" fmla="*/ 340607 w 5734864"/>
              <a:gd name="connsiteY96" fmla="*/ 3785153 h 6858000"/>
              <a:gd name="connsiteX97" fmla="*/ 340707 w 5734864"/>
              <a:gd name="connsiteY97" fmla="*/ 3788177 h 6858000"/>
              <a:gd name="connsiteX98" fmla="*/ 340361 w 5734864"/>
              <a:gd name="connsiteY98" fmla="*/ 3798803 h 6858000"/>
              <a:gd name="connsiteX99" fmla="*/ 339642 w 5734864"/>
              <a:gd name="connsiteY99" fmla="*/ 3838750 h 6858000"/>
              <a:gd name="connsiteX100" fmla="*/ 360295 w 5734864"/>
              <a:gd name="connsiteY100" fmla="*/ 4015196 h 6858000"/>
              <a:gd name="connsiteX101" fmla="*/ 339043 w 5734864"/>
              <a:gd name="connsiteY101" fmla="*/ 4052778 h 6858000"/>
              <a:gd name="connsiteX102" fmla="*/ 339343 w 5734864"/>
              <a:gd name="connsiteY102" fmla="*/ 4096257 h 6858000"/>
              <a:gd name="connsiteX103" fmla="*/ 340786 w 5734864"/>
              <a:gd name="connsiteY103" fmla="*/ 4321136 h 6858000"/>
              <a:gd name="connsiteX104" fmla="*/ 343158 w 5734864"/>
              <a:gd name="connsiteY104" fmla="*/ 4429174 h 6858000"/>
              <a:gd name="connsiteX105" fmla="*/ 334599 w 5734864"/>
              <a:gd name="connsiteY105" fmla="*/ 4449938 h 6858000"/>
              <a:gd name="connsiteX106" fmla="*/ 332890 w 5734864"/>
              <a:gd name="connsiteY106" fmla="*/ 4453515 h 6858000"/>
              <a:gd name="connsiteX107" fmla="*/ 331105 w 5734864"/>
              <a:gd name="connsiteY107" fmla="*/ 4467941 h 6858000"/>
              <a:gd name="connsiteX108" fmla="*/ 324289 w 5734864"/>
              <a:gd name="connsiteY108" fmla="*/ 4471861 h 6858000"/>
              <a:gd name="connsiteX109" fmla="*/ 317079 w 5734864"/>
              <a:gd name="connsiteY109" fmla="*/ 4493468 h 6858000"/>
              <a:gd name="connsiteX110" fmla="*/ 315557 w 5734864"/>
              <a:gd name="connsiteY110" fmla="*/ 4520067 h 6858000"/>
              <a:gd name="connsiteX111" fmla="*/ 315240 w 5734864"/>
              <a:gd name="connsiteY111" fmla="*/ 4536872 h 6858000"/>
              <a:gd name="connsiteX112" fmla="*/ 316200 w 5734864"/>
              <a:gd name="connsiteY112" fmla="*/ 4538297 h 6858000"/>
              <a:gd name="connsiteX113" fmla="*/ 317507 w 5734864"/>
              <a:gd name="connsiteY113" fmla="*/ 4547582 h 6858000"/>
              <a:gd name="connsiteX114" fmla="*/ 323078 w 5734864"/>
              <a:gd name="connsiteY114" fmla="*/ 4592102 h 6858000"/>
              <a:gd name="connsiteX115" fmla="*/ 328722 w 5734864"/>
              <a:gd name="connsiteY115" fmla="*/ 4667914 h 6858000"/>
              <a:gd name="connsiteX116" fmla="*/ 335597 w 5734864"/>
              <a:gd name="connsiteY116" fmla="*/ 4695035 h 6858000"/>
              <a:gd name="connsiteX117" fmla="*/ 339485 w 5734864"/>
              <a:gd name="connsiteY117" fmla="*/ 4695979 h 6858000"/>
              <a:gd name="connsiteX118" fmla="*/ 341089 w 5734864"/>
              <a:gd name="connsiteY118" fmla="*/ 4704268 h 6858000"/>
              <a:gd name="connsiteX119" fmla="*/ 342177 w 5734864"/>
              <a:gd name="connsiteY119" fmla="*/ 4706060 h 6858000"/>
              <a:gd name="connsiteX120" fmla="*/ 347751 w 5734864"/>
              <a:gd name="connsiteY120" fmla="*/ 4716754 h 6858000"/>
              <a:gd name="connsiteX121" fmla="*/ 344125 w 5734864"/>
              <a:gd name="connsiteY121" fmla="*/ 4764669 h 6858000"/>
              <a:gd name="connsiteX122" fmla="*/ 340188 w 5734864"/>
              <a:gd name="connsiteY122" fmla="*/ 4779386 h 6858000"/>
              <a:gd name="connsiteX123" fmla="*/ 335146 w 5734864"/>
              <a:gd name="connsiteY123" fmla="*/ 4787491 h 6858000"/>
              <a:gd name="connsiteX124" fmla="*/ 319124 w 5734864"/>
              <a:gd name="connsiteY124" fmla="*/ 4843514 h 6858000"/>
              <a:gd name="connsiteX125" fmla="*/ 305956 w 5734864"/>
              <a:gd name="connsiteY125" fmla="*/ 4881505 h 6858000"/>
              <a:gd name="connsiteX126" fmla="*/ 301062 w 5734864"/>
              <a:gd name="connsiteY126" fmla="*/ 4889332 h 6858000"/>
              <a:gd name="connsiteX127" fmla="*/ 302141 w 5734864"/>
              <a:gd name="connsiteY127" fmla="*/ 4899400 h 6858000"/>
              <a:gd name="connsiteX128" fmla="*/ 304424 w 5734864"/>
              <a:gd name="connsiteY128" fmla="*/ 4902664 h 6858000"/>
              <a:gd name="connsiteX129" fmla="*/ 293123 w 5734864"/>
              <a:gd name="connsiteY129" fmla="*/ 4932769 h 6858000"/>
              <a:gd name="connsiteX130" fmla="*/ 292275 w 5734864"/>
              <a:gd name="connsiteY130" fmla="*/ 4936482 h 6858000"/>
              <a:gd name="connsiteX131" fmla="*/ 288304 w 5734864"/>
              <a:gd name="connsiteY131" fmla="*/ 4962325 h 6858000"/>
              <a:gd name="connsiteX132" fmla="*/ 287420 w 5734864"/>
              <a:gd name="connsiteY132" fmla="*/ 5042193 h 6858000"/>
              <a:gd name="connsiteX133" fmla="*/ 287020 w 5734864"/>
              <a:gd name="connsiteY133" fmla="*/ 5065655 h 6858000"/>
              <a:gd name="connsiteX134" fmla="*/ 288488 w 5734864"/>
              <a:gd name="connsiteY134" fmla="*/ 5082216 h 6858000"/>
              <a:gd name="connsiteX135" fmla="*/ 282763 w 5734864"/>
              <a:gd name="connsiteY135" fmla="*/ 5127114 h 6858000"/>
              <a:gd name="connsiteX136" fmla="*/ 269316 w 5734864"/>
              <a:gd name="connsiteY136" fmla="*/ 5202682 h 6858000"/>
              <a:gd name="connsiteX137" fmla="*/ 269174 w 5734864"/>
              <a:gd name="connsiteY137" fmla="*/ 5230835 h 6858000"/>
              <a:gd name="connsiteX138" fmla="*/ 272679 w 5734864"/>
              <a:gd name="connsiteY138" fmla="*/ 5232660 h 6858000"/>
              <a:gd name="connsiteX139" fmla="*/ 272160 w 5734864"/>
              <a:gd name="connsiteY139" fmla="*/ 5241150 h 6858000"/>
              <a:gd name="connsiteX140" fmla="*/ 272760 w 5734864"/>
              <a:gd name="connsiteY140" fmla="*/ 5243156 h 6858000"/>
              <a:gd name="connsiteX141" fmla="*/ 275462 w 5734864"/>
              <a:gd name="connsiteY141" fmla="*/ 5254919 h 6858000"/>
              <a:gd name="connsiteX142" fmla="*/ 262897 w 5734864"/>
              <a:gd name="connsiteY142" fmla="*/ 5286259 h 6858000"/>
              <a:gd name="connsiteX143" fmla="*/ 252761 w 5734864"/>
              <a:gd name="connsiteY143" fmla="*/ 5357801 h 6858000"/>
              <a:gd name="connsiteX144" fmla="*/ 242360 w 5734864"/>
              <a:gd name="connsiteY144" fmla="*/ 5460080 h 6858000"/>
              <a:gd name="connsiteX145" fmla="*/ 229880 w 5734864"/>
              <a:gd name="connsiteY145" fmla="*/ 5539714 h 6858000"/>
              <a:gd name="connsiteX146" fmla="*/ 204283 w 5734864"/>
              <a:gd name="connsiteY146" fmla="*/ 5639080 h 6858000"/>
              <a:gd name="connsiteX147" fmla="*/ 198948 w 5734864"/>
              <a:gd name="connsiteY147" fmla="*/ 5710958 h 6858000"/>
              <a:gd name="connsiteX148" fmla="*/ 192367 w 5734864"/>
              <a:gd name="connsiteY148" fmla="*/ 5719859 h 6858000"/>
              <a:gd name="connsiteX149" fmla="*/ 188035 w 5734864"/>
              <a:gd name="connsiteY149" fmla="*/ 5729935 h 6858000"/>
              <a:gd name="connsiteX150" fmla="*/ 188428 w 5734864"/>
              <a:gd name="connsiteY150" fmla="*/ 5731182 h 6858000"/>
              <a:gd name="connsiteX151" fmla="*/ 181635 w 5734864"/>
              <a:gd name="connsiteY151" fmla="*/ 5753538 h 6858000"/>
              <a:gd name="connsiteX152" fmla="*/ 169744 w 5734864"/>
              <a:gd name="connsiteY152" fmla="*/ 5796307 h 6858000"/>
              <a:gd name="connsiteX153" fmla="*/ 170351 w 5734864"/>
              <a:gd name="connsiteY153" fmla="*/ 5796644 h 6858000"/>
              <a:gd name="connsiteX154" fmla="*/ 171559 w 5734864"/>
              <a:gd name="connsiteY154" fmla="*/ 5803435 h 6858000"/>
              <a:gd name="connsiteX155" fmla="*/ 172284 w 5734864"/>
              <a:gd name="connsiteY155" fmla="*/ 5816391 h 6858000"/>
              <a:gd name="connsiteX156" fmla="*/ 182542 w 5734864"/>
              <a:gd name="connsiteY156" fmla="*/ 5846382 h 6858000"/>
              <a:gd name="connsiteX157" fmla="*/ 175877 w 5734864"/>
              <a:gd name="connsiteY157" fmla="*/ 5871336 h 6858000"/>
              <a:gd name="connsiteX158" fmla="*/ 174910 w 5734864"/>
              <a:gd name="connsiteY158" fmla="*/ 5876376 h 6858000"/>
              <a:gd name="connsiteX159" fmla="*/ 175047 w 5734864"/>
              <a:gd name="connsiteY159" fmla="*/ 5876483 h 6858000"/>
              <a:gd name="connsiteX160" fmla="*/ 174335 w 5734864"/>
              <a:gd name="connsiteY160" fmla="*/ 5881814 h 6858000"/>
              <a:gd name="connsiteX161" fmla="*/ 171273 w 5734864"/>
              <a:gd name="connsiteY161" fmla="*/ 5895339 h 6858000"/>
              <a:gd name="connsiteX162" fmla="*/ 171658 w 5734864"/>
              <a:gd name="connsiteY162" fmla="*/ 5898749 h 6858000"/>
              <a:gd name="connsiteX163" fmla="*/ 174658 w 5734864"/>
              <a:gd name="connsiteY163" fmla="*/ 5919558 h 6858000"/>
              <a:gd name="connsiteX164" fmla="*/ 169099 w 5734864"/>
              <a:gd name="connsiteY164" fmla="*/ 5984417 h 6858000"/>
              <a:gd name="connsiteX165" fmla="*/ 162007 w 5734864"/>
              <a:gd name="connsiteY165" fmla="*/ 6049043 h 6858000"/>
              <a:gd name="connsiteX166" fmla="*/ 156875 w 5734864"/>
              <a:gd name="connsiteY166" fmla="*/ 6114000 h 6858000"/>
              <a:gd name="connsiteX167" fmla="*/ 165441 w 5734864"/>
              <a:gd name="connsiteY167" fmla="*/ 6146938 h 6858000"/>
              <a:gd name="connsiteX168" fmla="*/ 165177 w 5734864"/>
              <a:gd name="connsiteY168" fmla="*/ 6150658 h 6858000"/>
              <a:gd name="connsiteX169" fmla="*/ 161772 w 5734864"/>
              <a:gd name="connsiteY169" fmla="*/ 6160011 h 6858000"/>
              <a:gd name="connsiteX170" fmla="*/ 160051 w 5734864"/>
              <a:gd name="connsiteY170" fmla="*/ 6163393 h 6858000"/>
              <a:gd name="connsiteX171" fmla="*/ 158473 w 5734864"/>
              <a:gd name="connsiteY171" fmla="*/ 6168628 h 6858000"/>
              <a:gd name="connsiteX172" fmla="*/ 158573 w 5734864"/>
              <a:gd name="connsiteY172" fmla="*/ 6168799 h 6858000"/>
              <a:gd name="connsiteX173" fmla="*/ 146463 w 5734864"/>
              <a:gd name="connsiteY173" fmla="*/ 6196671 h 6858000"/>
              <a:gd name="connsiteX174" fmla="*/ 150209 w 5734864"/>
              <a:gd name="connsiteY174" fmla="*/ 6232365 h 6858000"/>
              <a:gd name="connsiteX175" fmla="*/ 148544 w 5734864"/>
              <a:gd name="connsiteY175" fmla="*/ 6246162 h 6858000"/>
              <a:gd name="connsiteX176" fmla="*/ 148403 w 5734864"/>
              <a:gd name="connsiteY176" fmla="*/ 6253754 h 6858000"/>
              <a:gd name="connsiteX177" fmla="*/ 138880 w 5734864"/>
              <a:gd name="connsiteY177" fmla="*/ 6276449 h 6858000"/>
              <a:gd name="connsiteX178" fmla="*/ 138683 w 5734864"/>
              <a:gd name="connsiteY178" fmla="*/ 6279721 h 6858000"/>
              <a:gd name="connsiteX179" fmla="*/ 130721 w 5734864"/>
              <a:gd name="connsiteY179" fmla="*/ 6293675 h 6858000"/>
              <a:gd name="connsiteX180" fmla="*/ 120717 w 5734864"/>
              <a:gd name="connsiteY180" fmla="*/ 6313967 h 6858000"/>
              <a:gd name="connsiteX181" fmla="*/ 120841 w 5734864"/>
              <a:gd name="connsiteY181" fmla="*/ 6315437 h 6858000"/>
              <a:gd name="connsiteX182" fmla="*/ 115208 w 5734864"/>
              <a:gd name="connsiteY182" fmla="*/ 6324024 h 6858000"/>
              <a:gd name="connsiteX183" fmla="*/ 101217 w 5734864"/>
              <a:gd name="connsiteY183" fmla="*/ 6365923 h 6858000"/>
              <a:gd name="connsiteX184" fmla="*/ 74946 w 5734864"/>
              <a:gd name="connsiteY184" fmla="*/ 6556817 h 6858000"/>
              <a:gd name="connsiteX185" fmla="*/ 16001 w 5734864"/>
              <a:gd name="connsiteY185" fmla="*/ 6808678 h 6858000"/>
              <a:gd name="connsiteX186" fmla="*/ 0 w 5734864"/>
              <a:gd name="connsiteY186" fmla="*/ 6858000 h 6858000"/>
              <a:gd name="connsiteX187" fmla="*/ 5734864 w 5734864"/>
              <a:gd name="connsiteY187" fmla="*/ 6858000 h 6858000"/>
              <a:gd name="connsiteX188" fmla="*/ 5734864 w 5734864"/>
              <a:gd name="connsiteY188" fmla="*/ 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7865 w 5734864"/>
              <a:gd name="connsiteY13" fmla="*/ 1070795 h 6858000"/>
              <a:gd name="connsiteX14" fmla="*/ 862786 w 5734864"/>
              <a:gd name="connsiteY14" fmla="*/ 1238994 h 6858000"/>
              <a:gd name="connsiteX15" fmla="*/ 859345 w 5734864"/>
              <a:gd name="connsiteY15" fmla="*/ 1380427 h 6858000"/>
              <a:gd name="connsiteX16" fmla="*/ 855172 w 5734864"/>
              <a:gd name="connsiteY16" fmla="*/ 1435262 h 6858000"/>
              <a:gd name="connsiteX17" fmla="*/ 860494 w 5734864"/>
              <a:gd name="connsiteY17" fmla="*/ 1453861 h 6858000"/>
              <a:gd name="connsiteX18" fmla="*/ 853731 w 5734864"/>
              <a:gd name="connsiteY18" fmla="*/ 1467047 h 6858000"/>
              <a:gd name="connsiteX19" fmla="*/ 845847 w 5734864"/>
              <a:gd name="connsiteY19" fmla="*/ 1502307 h 6858000"/>
              <a:gd name="connsiteX20" fmla="*/ 817613 w 5734864"/>
              <a:gd name="connsiteY20" fmla="*/ 1565166 h 6858000"/>
              <a:gd name="connsiteX21" fmla="*/ 804223 w 5734864"/>
              <a:gd name="connsiteY21" fmla="*/ 1601941 h 6858000"/>
              <a:gd name="connsiteX22" fmla="*/ 791773 w 5734864"/>
              <a:gd name="connsiteY22" fmla="*/ 1627005 h 6858000"/>
              <a:gd name="connsiteX23" fmla="*/ 774645 w 5734864"/>
              <a:gd name="connsiteY23" fmla="*/ 1699922 h 6858000"/>
              <a:gd name="connsiteX24" fmla="*/ 752343 w 5734864"/>
              <a:gd name="connsiteY24" fmla="*/ 1824604 h 6858000"/>
              <a:gd name="connsiteX25" fmla="*/ 746254 w 5734864"/>
              <a:gd name="connsiteY25" fmla="*/ 1850222 h 6858000"/>
              <a:gd name="connsiteX26" fmla="*/ 728600 w 5734864"/>
              <a:gd name="connsiteY26" fmla="*/ 1869603 h 6858000"/>
              <a:gd name="connsiteX27" fmla="*/ 724396 w 5734864"/>
              <a:gd name="connsiteY27" fmla="*/ 1883104 h 6858000"/>
              <a:gd name="connsiteX28" fmla="*/ 722165 w 5734864"/>
              <a:gd name="connsiteY28" fmla="*/ 1885924 h 6858000"/>
              <a:gd name="connsiteX29" fmla="*/ 721338 w 5734864"/>
              <a:gd name="connsiteY29" fmla="*/ 1887123 h 6858000"/>
              <a:gd name="connsiteX30" fmla="*/ 714840 w 5734864"/>
              <a:gd name="connsiteY30" fmla="*/ 1902274 h 6858000"/>
              <a:gd name="connsiteX31" fmla="*/ 722847 w 5734864"/>
              <a:gd name="connsiteY31" fmla="*/ 1929891 h 6858000"/>
              <a:gd name="connsiteX32" fmla="*/ 714660 w 5734864"/>
              <a:gd name="connsiteY32" fmla="*/ 1982709 h 6858000"/>
              <a:gd name="connsiteX33" fmla="*/ 710759 w 5734864"/>
              <a:gd name="connsiteY33" fmla="*/ 2013010 h 6858000"/>
              <a:gd name="connsiteX34" fmla="*/ 697927 w 5734864"/>
              <a:gd name="connsiteY34" fmla="*/ 2069833 h 6858000"/>
              <a:gd name="connsiteX35" fmla="*/ 693594 w 5734864"/>
              <a:gd name="connsiteY35" fmla="*/ 2103731 h 6858000"/>
              <a:gd name="connsiteX36" fmla="*/ 691109 w 5734864"/>
              <a:gd name="connsiteY36" fmla="*/ 2124027 h 6858000"/>
              <a:gd name="connsiteX37" fmla="*/ 676593 w 5734864"/>
              <a:gd name="connsiteY37" fmla="*/ 2176182 h 6858000"/>
              <a:gd name="connsiteX38" fmla="*/ 633227 w 5734864"/>
              <a:gd name="connsiteY38" fmla="*/ 2258036 h 6858000"/>
              <a:gd name="connsiteX39" fmla="*/ 625564 w 5734864"/>
              <a:gd name="connsiteY39" fmla="*/ 2284567 h 6858000"/>
              <a:gd name="connsiteX40" fmla="*/ 627074 w 5734864"/>
              <a:gd name="connsiteY40" fmla="*/ 2289605 h 6858000"/>
              <a:gd name="connsiteX41" fmla="*/ 614574 w 5734864"/>
              <a:gd name="connsiteY41" fmla="*/ 2308717 h 6858000"/>
              <a:gd name="connsiteX42" fmla="*/ 606890 w 5734864"/>
              <a:gd name="connsiteY42" fmla="*/ 2320662 h 6858000"/>
              <a:gd name="connsiteX43" fmla="*/ 605558 w 5734864"/>
              <a:gd name="connsiteY43" fmla="*/ 2327897 h 6858000"/>
              <a:gd name="connsiteX44" fmla="*/ 602202 w 5734864"/>
              <a:gd name="connsiteY44" fmla="*/ 2357749 h 6858000"/>
              <a:gd name="connsiteX45" fmla="*/ 600213 w 5734864"/>
              <a:gd name="connsiteY45" fmla="*/ 2364905 h 6858000"/>
              <a:gd name="connsiteX46" fmla="*/ 597160 w 5734864"/>
              <a:gd name="connsiteY46" fmla="*/ 2388351 h 6858000"/>
              <a:gd name="connsiteX47" fmla="*/ 597982 w 5734864"/>
              <a:gd name="connsiteY47" fmla="*/ 2402296 h 6858000"/>
              <a:gd name="connsiteX48" fmla="*/ 593150 w 5734864"/>
              <a:gd name="connsiteY48" fmla="*/ 2420015 h 6858000"/>
              <a:gd name="connsiteX49" fmla="*/ 592833 w 5734864"/>
              <a:gd name="connsiteY49" fmla="*/ 2422749 h 6858000"/>
              <a:gd name="connsiteX50" fmla="*/ 594479 w 5734864"/>
              <a:gd name="connsiteY50" fmla="*/ 2426002 h 6858000"/>
              <a:gd name="connsiteX51" fmla="*/ 591963 w 5734864"/>
              <a:gd name="connsiteY51" fmla="*/ 2431950 h 6858000"/>
              <a:gd name="connsiteX52" fmla="*/ 591544 w 5734864"/>
              <a:gd name="connsiteY52" fmla="*/ 2433897 h 6858000"/>
              <a:gd name="connsiteX53" fmla="*/ 589519 w 5734864"/>
              <a:gd name="connsiteY53" fmla="*/ 2451398 h 6858000"/>
              <a:gd name="connsiteX54" fmla="*/ 590037 w 5734864"/>
              <a:gd name="connsiteY54" fmla="*/ 2455536 h 6858000"/>
              <a:gd name="connsiteX55" fmla="*/ 588179 w 5734864"/>
              <a:gd name="connsiteY55" fmla="*/ 2462981 h 6858000"/>
              <a:gd name="connsiteX56" fmla="*/ 583434 w 5734864"/>
              <a:gd name="connsiteY56" fmla="*/ 2503991 h 6858000"/>
              <a:gd name="connsiteX57" fmla="*/ 567942 w 5734864"/>
              <a:gd name="connsiteY57" fmla="*/ 2652936 h 6858000"/>
              <a:gd name="connsiteX58" fmla="*/ 573869 w 5734864"/>
              <a:gd name="connsiteY58" fmla="*/ 2670188 h 6858000"/>
              <a:gd name="connsiteX59" fmla="*/ 575243 w 5734864"/>
              <a:gd name="connsiteY59" fmla="*/ 2688114 h 6858000"/>
              <a:gd name="connsiteX60" fmla="*/ 573824 w 5734864"/>
              <a:gd name="connsiteY60" fmla="*/ 2689856 h 6858000"/>
              <a:gd name="connsiteX61" fmla="*/ 570699 w 5734864"/>
              <a:gd name="connsiteY61" fmla="*/ 2709353 h 6858000"/>
              <a:gd name="connsiteX62" fmla="*/ 573192 w 5734864"/>
              <a:gd name="connsiteY62" fmla="*/ 2714527 h 6858000"/>
              <a:gd name="connsiteX63" fmla="*/ 572044 w 5734864"/>
              <a:gd name="connsiteY63" fmla="*/ 2728187 h 6858000"/>
              <a:gd name="connsiteX64" fmla="*/ 572465 w 5734864"/>
              <a:gd name="connsiteY64" fmla="*/ 2755863 h 6858000"/>
              <a:gd name="connsiteX65" fmla="*/ 570028 w 5734864"/>
              <a:gd name="connsiteY65" fmla="*/ 2760324 h 6858000"/>
              <a:gd name="connsiteX66" fmla="*/ 566748 w 5734864"/>
              <a:gd name="connsiteY66" fmla="*/ 2800948 h 6858000"/>
              <a:gd name="connsiteX67" fmla="*/ 565509 w 5734864"/>
              <a:gd name="connsiteY67" fmla="*/ 2801167 h 6858000"/>
              <a:gd name="connsiteX68" fmla="*/ 559367 w 5734864"/>
              <a:gd name="connsiteY68" fmla="*/ 2811129 h 6858000"/>
              <a:gd name="connsiteX69" fmla="*/ 550354 w 5734864"/>
              <a:gd name="connsiteY69" fmla="*/ 2830949 h 6858000"/>
              <a:gd name="connsiteX70" fmla="*/ 514795 w 5734864"/>
              <a:gd name="connsiteY70" fmla="*/ 2872433 h 6858000"/>
              <a:gd name="connsiteX71" fmla="*/ 509875 w 5734864"/>
              <a:gd name="connsiteY71" fmla="*/ 2923099 h 6858000"/>
              <a:gd name="connsiteX72" fmla="*/ 509577 w 5734864"/>
              <a:gd name="connsiteY72" fmla="*/ 2923197 h 6858000"/>
              <a:gd name="connsiteX73" fmla="*/ 507597 w 5734864"/>
              <a:gd name="connsiteY73" fmla="*/ 2931868 h 6858000"/>
              <a:gd name="connsiteX74" fmla="*/ 507379 w 5734864"/>
              <a:gd name="connsiteY74" fmla="*/ 2938322 h 6858000"/>
              <a:gd name="connsiteX75" fmla="*/ 504725 w 5734864"/>
              <a:gd name="connsiteY75" fmla="*/ 2954519 h 6858000"/>
              <a:gd name="connsiteX76" fmla="*/ 502018 w 5734864"/>
              <a:gd name="connsiteY76" fmla="*/ 2959643 h 6858000"/>
              <a:gd name="connsiteX77" fmla="*/ 498360 w 5734864"/>
              <a:gd name="connsiteY77" fmla="*/ 2961019 h 6858000"/>
              <a:gd name="connsiteX78" fmla="*/ 498483 w 5734864"/>
              <a:gd name="connsiteY78" fmla="*/ 2962590 h 6858000"/>
              <a:gd name="connsiteX79" fmla="*/ 484403 w 5734864"/>
              <a:gd name="connsiteY79" fmla="*/ 2990538 h 6858000"/>
              <a:gd name="connsiteX80" fmla="*/ 463075 w 5734864"/>
              <a:gd name="connsiteY80" fmla="*/ 3055956 h 6858000"/>
              <a:gd name="connsiteX81" fmla="*/ 455013 w 5734864"/>
              <a:gd name="connsiteY81" fmla="*/ 3094482 h 6858000"/>
              <a:gd name="connsiteX82" fmla="*/ 428391 w 5734864"/>
              <a:gd name="connsiteY82" fmla="*/ 3198850 h 6858000"/>
              <a:gd name="connsiteX83" fmla="*/ 401440 w 5734864"/>
              <a:gd name="connsiteY83" fmla="*/ 3307560 h 6858000"/>
              <a:gd name="connsiteX84" fmla="*/ 386076 w 5734864"/>
              <a:gd name="connsiteY84" fmla="*/ 3373943 h 6858000"/>
              <a:gd name="connsiteX85" fmla="*/ 374726 w 5734864"/>
              <a:gd name="connsiteY85" fmla="*/ 3381364 h 6858000"/>
              <a:gd name="connsiteX86" fmla="*/ 369145 w 5734864"/>
              <a:gd name="connsiteY86" fmla="*/ 3383729 h 6858000"/>
              <a:gd name="connsiteX87" fmla="*/ 364294 w 5734864"/>
              <a:gd name="connsiteY87" fmla="*/ 3414159 h 6858000"/>
              <a:gd name="connsiteX88" fmla="*/ 366450 w 5734864"/>
              <a:gd name="connsiteY88" fmla="*/ 3436925 h 6858000"/>
              <a:gd name="connsiteX89" fmla="*/ 351743 w 5734864"/>
              <a:gd name="connsiteY89" fmla="*/ 3521619 h 6858000"/>
              <a:gd name="connsiteX90" fmla="*/ 345784 w 5734864"/>
              <a:gd name="connsiteY90" fmla="*/ 3603757 h 6858000"/>
              <a:gd name="connsiteX91" fmla="*/ 344198 w 5734864"/>
              <a:gd name="connsiteY91" fmla="*/ 3652424 h 6858000"/>
              <a:gd name="connsiteX92" fmla="*/ 352450 w 5734864"/>
              <a:gd name="connsiteY92" fmla="*/ 3665222 h 6858000"/>
              <a:gd name="connsiteX93" fmla="*/ 342621 w 5734864"/>
              <a:gd name="connsiteY93" fmla="*/ 3700804 h 6858000"/>
              <a:gd name="connsiteX94" fmla="*/ 341514 w 5734864"/>
              <a:gd name="connsiteY94" fmla="*/ 3734774 h 6858000"/>
              <a:gd name="connsiteX95" fmla="*/ 340607 w 5734864"/>
              <a:gd name="connsiteY95" fmla="*/ 3785153 h 6858000"/>
              <a:gd name="connsiteX96" fmla="*/ 340707 w 5734864"/>
              <a:gd name="connsiteY96" fmla="*/ 3788177 h 6858000"/>
              <a:gd name="connsiteX97" fmla="*/ 340361 w 5734864"/>
              <a:gd name="connsiteY97" fmla="*/ 3798803 h 6858000"/>
              <a:gd name="connsiteX98" fmla="*/ 339642 w 5734864"/>
              <a:gd name="connsiteY98" fmla="*/ 3838750 h 6858000"/>
              <a:gd name="connsiteX99" fmla="*/ 360295 w 5734864"/>
              <a:gd name="connsiteY99" fmla="*/ 4015196 h 6858000"/>
              <a:gd name="connsiteX100" fmla="*/ 339043 w 5734864"/>
              <a:gd name="connsiteY100" fmla="*/ 4052778 h 6858000"/>
              <a:gd name="connsiteX101" fmla="*/ 339343 w 5734864"/>
              <a:gd name="connsiteY101" fmla="*/ 4096257 h 6858000"/>
              <a:gd name="connsiteX102" fmla="*/ 340786 w 5734864"/>
              <a:gd name="connsiteY102" fmla="*/ 4321136 h 6858000"/>
              <a:gd name="connsiteX103" fmla="*/ 343158 w 5734864"/>
              <a:gd name="connsiteY103" fmla="*/ 4429174 h 6858000"/>
              <a:gd name="connsiteX104" fmla="*/ 334599 w 5734864"/>
              <a:gd name="connsiteY104" fmla="*/ 4449938 h 6858000"/>
              <a:gd name="connsiteX105" fmla="*/ 332890 w 5734864"/>
              <a:gd name="connsiteY105" fmla="*/ 4453515 h 6858000"/>
              <a:gd name="connsiteX106" fmla="*/ 331105 w 5734864"/>
              <a:gd name="connsiteY106" fmla="*/ 4467941 h 6858000"/>
              <a:gd name="connsiteX107" fmla="*/ 324289 w 5734864"/>
              <a:gd name="connsiteY107" fmla="*/ 4471861 h 6858000"/>
              <a:gd name="connsiteX108" fmla="*/ 317079 w 5734864"/>
              <a:gd name="connsiteY108" fmla="*/ 4493468 h 6858000"/>
              <a:gd name="connsiteX109" fmla="*/ 315557 w 5734864"/>
              <a:gd name="connsiteY109" fmla="*/ 4520067 h 6858000"/>
              <a:gd name="connsiteX110" fmla="*/ 315240 w 5734864"/>
              <a:gd name="connsiteY110" fmla="*/ 4536872 h 6858000"/>
              <a:gd name="connsiteX111" fmla="*/ 316200 w 5734864"/>
              <a:gd name="connsiteY111" fmla="*/ 4538297 h 6858000"/>
              <a:gd name="connsiteX112" fmla="*/ 317507 w 5734864"/>
              <a:gd name="connsiteY112" fmla="*/ 4547582 h 6858000"/>
              <a:gd name="connsiteX113" fmla="*/ 323078 w 5734864"/>
              <a:gd name="connsiteY113" fmla="*/ 4592102 h 6858000"/>
              <a:gd name="connsiteX114" fmla="*/ 328722 w 5734864"/>
              <a:gd name="connsiteY114" fmla="*/ 4667914 h 6858000"/>
              <a:gd name="connsiteX115" fmla="*/ 335597 w 5734864"/>
              <a:gd name="connsiteY115" fmla="*/ 4695035 h 6858000"/>
              <a:gd name="connsiteX116" fmla="*/ 339485 w 5734864"/>
              <a:gd name="connsiteY116" fmla="*/ 4695979 h 6858000"/>
              <a:gd name="connsiteX117" fmla="*/ 341089 w 5734864"/>
              <a:gd name="connsiteY117" fmla="*/ 4704268 h 6858000"/>
              <a:gd name="connsiteX118" fmla="*/ 342177 w 5734864"/>
              <a:gd name="connsiteY118" fmla="*/ 4706060 h 6858000"/>
              <a:gd name="connsiteX119" fmla="*/ 347751 w 5734864"/>
              <a:gd name="connsiteY119" fmla="*/ 4716754 h 6858000"/>
              <a:gd name="connsiteX120" fmla="*/ 344125 w 5734864"/>
              <a:gd name="connsiteY120" fmla="*/ 4764669 h 6858000"/>
              <a:gd name="connsiteX121" fmla="*/ 340188 w 5734864"/>
              <a:gd name="connsiteY121" fmla="*/ 4779386 h 6858000"/>
              <a:gd name="connsiteX122" fmla="*/ 335146 w 5734864"/>
              <a:gd name="connsiteY122" fmla="*/ 4787491 h 6858000"/>
              <a:gd name="connsiteX123" fmla="*/ 319124 w 5734864"/>
              <a:gd name="connsiteY123" fmla="*/ 4843514 h 6858000"/>
              <a:gd name="connsiteX124" fmla="*/ 305956 w 5734864"/>
              <a:gd name="connsiteY124" fmla="*/ 4881505 h 6858000"/>
              <a:gd name="connsiteX125" fmla="*/ 301062 w 5734864"/>
              <a:gd name="connsiteY125" fmla="*/ 4889332 h 6858000"/>
              <a:gd name="connsiteX126" fmla="*/ 302141 w 5734864"/>
              <a:gd name="connsiteY126" fmla="*/ 4899400 h 6858000"/>
              <a:gd name="connsiteX127" fmla="*/ 304424 w 5734864"/>
              <a:gd name="connsiteY127" fmla="*/ 4902664 h 6858000"/>
              <a:gd name="connsiteX128" fmla="*/ 293123 w 5734864"/>
              <a:gd name="connsiteY128" fmla="*/ 4932769 h 6858000"/>
              <a:gd name="connsiteX129" fmla="*/ 292275 w 5734864"/>
              <a:gd name="connsiteY129" fmla="*/ 4936482 h 6858000"/>
              <a:gd name="connsiteX130" fmla="*/ 288304 w 5734864"/>
              <a:gd name="connsiteY130" fmla="*/ 4962325 h 6858000"/>
              <a:gd name="connsiteX131" fmla="*/ 287420 w 5734864"/>
              <a:gd name="connsiteY131" fmla="*/ 5042193 h 6858000"/>
              <a:gd name="connsiteX132" fmla="*/ 287020 w 5734864"/>
              <a:gd name="connsiteY132" fmla="*/ 5065655 h 6858000"/>
              <a:gd name="connsiteX133" fmla="*/ 288488 w 5734864"/>
              <a:gd name="connsiteY133" fmla="*/ 5082216 h 6858000"/>
              <a:gd name="connsiteX134" fmla="*/ 282763 w 5734864"/>
              <a:gd name="connsiteY134" fmla="*/ 5127114 h 6858000"/>
              <a:gd name="connsiteX135" fmla="*/ 269316 w 5734864"/>
              <a:gd name="connsiteY135" fmla="*/ 5202682 h 6858000"/>
              <a:gd name="connsiteX136" fmla="*/ 269174 w 5734864"/>
              <a:gd name="connsiteY136" fmla="*/ 5230835 h 6858000"/>
              <a:gd name="connsiteX137" fmla="*/ 272679 w 5734864"/>
              <a:gd name="connsiteY137" fmla="*/ 5232660 h 6858000"/>
              <a:gd name="connsiteX138" fmla="*/ 272160 w 5734864"/>
              <a:gd name="connsiteY138" fmla="*/ 5241150 h 6858000"/>
              <a:gd name="connsiteX139" fmla="*/ 272760 w 5734864"/>
              <a:gd name="connsiteY139" fmla="*/ 5243156 h 6858000"/>
              <a:gd name="connsiteX140" fmla="*/ 275462 w 5734864"/>
              <a:gd name="connsiteY140" fmla="*/ 5254919 h 6858000"/>
              <a:gd name="connsiteX141" fmla="*/ 262897 w 5734864"/>
              <a:gd name="connsiteY141" fmla="*/ 5286259 h 6858000"/>
              <a:gd name="connsiteX142" fmla="*/ 252761 w 5734864"/>
              <a:gd name="connsiteY142" fmla="*/ 5357801 h 6858000"/>
              <a:gd name="connsiteX143" fmla="*/ 242360 w 5734864"/>
              <a:gd name="connsiteY143" fmla="*/ 5460080 h 6858000"/>
              <a:gd name="connsiteX144" fmla="*/ 229880 w 5734864"/>
              <a:gd name="connsiteY144" fmla="*/ 5539714 h 6858000"/>
              <a:gd name="connsiteX145" fmla="*/ 204283 w 5734864"/>
              <a:gd name="connsiteY145" fmla="*/ 5639080 h 6858000"/>
              <a:gd name="connsiteX146" fmla="*/ 198948 w 5734864"/>
              <a:gd name="connsiteY146" fmla="*/ 5710958 h 6858000"/>
              <a:gd name="connsiteX147" fmla="*/ 192367 w 5734864"/>
              <a:gd name="connsiteY147" fmla="*/ 5719859 h 6858000"/>
              <a:gd name="connsiteX148" fmla="*/ 188035 w 5734864"/>
              <a:gd name="connsiteY148" fmla="*/ 5729935 h 6858000"/>
              <a:gd name="connsiteX149" fmla="*/ 188428 w 5734864"/>
              <a:gd name="connsiteY149" fmla="*/ 5731182 h 6858000"/>
              <a:gd name="connsiteX150" fmla="*/ 181635 w 5734864"/>
              <a:gd name="connsiteY150" fmla="*/ 5753538 h 6858000"/>
              <a:gd name="connsiteX151" fmla="*/ 169744 w 5734864"/>
              <a:gd name="connsiteY151" fmla="*/ 5796307 h 6858000"/>
              <a:gd name="connsiteX152" fmla="*/ 170351 w 5734864"/>
              <a:gd name="connsiteY152" fmla="*/ 5796644 h 6858000"/>
              <a:gd name="connsiteX153" fmla="*/ 171559 w 5734864"/>
              <a:gd name="connsiteY153" fmla="*/ 5803435 h 6858000"/>
              <a:gd name="connsiteX154" fmla="*/ 172284 w 5734864"/>
              <a:gd name="connsiteY154" fmla="*/ 5816391 h 6858000"/>
              <a:gd name="connsiteX155" fmla="*/ 182542 w 5734864"/>
              <a:gd name="connsiteY155" fmla="*/ 5846382 h 6858000"/>
              <a:gd name="connsiteX156" fmla="*/ 175877 w 5734864"/>
              <a:gd name="connsiteY156" fmla="*/ 5871336 h 6858000"/>
              <a:gd name="connsiteX157" fmla="*/ 174910 w 5734864"/>
              <a:gd name="connsiteY157" fmla="*/ 5876376 h 6858000"/>
              <a:gd name="connsiteX158" fmla="*/ 175047 w 5734864"/>
              <a:gd name="connsiteY158" fmla="*/ 5876483 h 6858000"/>
              <a:gd name="connsiteX159" fmla="*/ 174335 w 5734864"/>
              <a:gd name="connsiteY159" fmla="*/ 5881814 h 6858000"/>
              <a:gd name="connsiteX160" fmla="*/ 171273 w 5734864"/>
              <a:gd name="connsiteY160" fmla="*/ 5895339 h 6858000"/>
              <a:gd name="connsiteX161" fmla="*/ 171658 w 5734864"/>
              <a:gd name="connsiteY161" fmla="*/ 5898749 h 6858000"/>
              <a:gd name="connsiteX162" fmla="*/ 174658 w 5734864"/>
              <a:gd name="connsiteY162" fmla="*/ 5919558 h 6858000"/>
              <a:gd name="connsiteX163" fmla="*/ 169099 w 5734864"/>
              <a:gd name="connsiteY163" fmla="*/ 5984417 h 6858000"/>
              <a:gd name="connsiteX164" fmla="*/ 162007 w 5734864"/>
              <a:gd name="connsiteY164" fmla="*/ 6049043 h 6858000"/>
              <a:gd name="connsiteX165" fmla="*/ 156875 w 5734864"/>
              <a:gd name="connsiteY165" fmla="*/ 6114000 h 6858000"/>
              <a:gd name="connsiteX166" fmla="*/ 165441 w 5734864"/>
              <a:gd name="connsiteY166" fmla="*/ 6146938 h 6858000"/>
              <a:gd name="connsiteX167" fmla="*/ 165177 w 5734864"/>
              <a:gd name="connsiteY167" fmla="*/ 6150658 h 6858000"/>
              <a:gd name="connsiteX168" fmla="*/ 161772 w 5734864"/>
              <a:gd name="connsiteY168" fmla="*/ 6160011 h 6858000"/>
              <a:gd name="connsiteX169" fmla="*/ 160051 w 5734864"/>
              <a:gd name="connsiteY169" fmla="*/ 6163393 h 6858000"/>
              <a:gd name="connsiteX170" fmla="*/ 158473 w 5734864"/>
              <a:gd name="connsiteY170" fmla="*/ 6168628 h 6858000"/>
              <a:gd name="connsiteX171" fmla="*/ 158573 w 5734864"/>
              <a:gd name="connsiteY171" fmla="*/ 6168799 h 6858000"/>
              <a:gd name="connsiteX172" fmla="*/ 146463 w 5734864"/>
              <a:gd name="connsiteY172" fmla="*/ 6196671 h 6858000"/>
              <a:gd name="connsiteX173" fmla="*/ 150209 w 5734864"/>
              <a:gd name="connsiteY173" fmla="*/ 6232365 h 6858000"/>
              <a:gd name="connsiteX174" fmla="*/ 148544 w 5734864"/>
              <a:gd name="connsiteY174" fmla="*/ 6246162 h 6858000"/>
              <a:gd name="connsiteX175" fmla="*/ 148403 w 5734864"/>
              <a:gd name="connsiteY175" fmla="*/ 6253754 h 6858000"/>
              <a:gd name="connsiteX176" fmla="*/ 138880 w 5734864"/>
              <a:gd name="connsiteY176" fmla="*/ 6276449 h 6858000"/>
              <a:gd name="connsiteX177" fmla="*/ 138683 w 5734864"/>
              <a:gd name="connsiteY177" fmla="*/ 6279721 h 6858000"/>
              <a:gd name="connsiteX178" fmla="*/ 130721 w 5734864"/>
              <a:gd name="connsiteY178" fmla="*/ 6293675 h 6858000"/>
              <a:gd name="connsiteX179" fmla="*/ 120717 w 5734864"/>
              <a:gd name="connsiteY179" fmla="*/ 6313967 h 6858000"/>
              <a:gd name="connsiteX180" fmla="*/ 120841 w 5734864"/>
              <a:gd name="connsiteY180" fmla="*/ 6315437 h 6858000"/>
              <a:gd name="connsiteX181" fmla="*/ 115208 w 5734864"/>
              <a:gd name="connsiteY181" fmla="*/ 6324024 h 6858000"/>
              <a:gd name="connsiteX182" fmla="*/ 101217 w 5734864"/>
              <a:gd name="connsiteY182" fmla="*/ 6365923 h 6858000"/>
              <a:gd name="connsiteX183" fmla="*/ 74946 w 5734864"/>
              <a:gd name="connsiteY183" fmla="*/ 6556817 h 6858000"/>
              <a:gd name="connsiteX184" fmla="*/ 16001 w 5734864"/>
              <a:gd name="connsiteY184" fmla="*/ 6808678 h 6858000"/>
              <a:gd name="connsiteX185" fmla="*/ 0 w 5734864"/>
              <a:gd name="connsiteY185" fmla="*/ 6858000 h 6858000"/>
              <a:gd name="connsiteX186" fmla="*/ 5734864 w 5734864"/>
              <a:gd name="connsiteY186" fmla="*/ 6858000 h 6858000"/>
              <a:gd name="connsiteX187" fmla="*/ 5734864 w 5734864"/>
              <a:gd name="connsiteY18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5734864" h="6858000">
                <a:moveTo>
                  <a:pt x="5734864" y="0"/>
                </a:moveTo>
                <a:lnTo>
                  <a:pt x="771611" y="0"/>
                </a:lnTo>
                <a:cubicBezTo>
                  <a:pt x="771634" y="16369"/>
                  <a:pt x="771656" y="32739"/>
                  <a:pt x="771679" y="49108"/>
                </a:cubicBezTo>
                <a:cubicBezTo>
                  <a:pt x="775201" y="55622"/>
                  <a:pt x="788724" y="196721"/>
                  <a:pt x="794248" y="200968"/>
                </a:cubicBezTo>
                <a:lnTo>
                  <a:pt x="801749" y="414071"/>
                </a:lnTo>
                <a:cubicBezTo>
                  <a:pt x="807329" y="440933"/>
                  <a:pt x="835107" y="598697"/>
                  <a:pt x="818548" y="585467"/>
                </a:cubicBezTo>
                <a:cubicBezTo>
                  <a:pt x="856197" y="664140"/>
                  <a:pt x="837895" y="708473"/>
                  <a:pt x="857476" y="800623"/>
                </a:cubicBezTo>
                <a:cubicBezTo>
                  <a:pt x="822401" y="857344"/>
                  <a:pt x="855723" y="824571"/>
                  <a:pt x="851083" y="878903"/>
                </a:cubicBezTo>
                <a:cubicBezTo>
                  <a:pt x="884811" y="859448"/>
                  <a:pt x="834648" y="946397"/>
                  <a:pt x="873564" y="943826"/>
                </a:cubicBezTo>
                <a:cubicBezTo>
                  <a:pt x="871487" y="953795"/>
                  <a:pt x="868248" y="963533"/>
                  <a:pt x="864705" y="973328"/>
                </a:cubicBezTo>
                <a:lnTo>
                  <a:pt x="862869" y="978457"/>
                </a:lnTo>
                <a:lnTo>
                  <a:pt x="862233" y="998041"/>
                </a:lnTo>
                <a:lnTo>
                  <a:pt x="853665" y="1004750"/>
                </a:lnTo>
                <a:lnTo>
                  <a:pt x="847865" y="1070795"/>
                </a:lnTo>
                <a:cubicBezTo>
                  <a:pt x="870234" y="1110486"/>
                  <a:pt x="833172" y="1190441"/>
                  <a:pt x="862786" y="1238994"/>
                </a:cubicBezTo>
                <a:cubicBezTo>
                  <a:pt x="864699" y="1290599"/>
                  <a:pt x="860615" y="1347716"/>
                  <a:pt x="859345" y="1380427"/>
                </a:cubicBezTo>
                <a:cubicBezTo>
                  <a:pt x="845703" y="1396391"/>
                  <a:pt x="873184" y="1435525"/>
                  <a:pt x="855172" y="1435262"/>
                </a:cubicBezTo>
                <a:lnTo>
                  <a:pt x="860494" y="1453861"/>
                </a:lnTo>
                <a:lnTo>
                  <a:pt x="853731" y="1467047"/>
                </a:lnTo>
                <a:cubicBezTo>
                  <a:pt x="846549" y="1480528"/>
                  <a:pt x="841728" y="1491093"/>
                  <a:pt x="845847" y="1502307"/>
                </a:cubicBezTo>
                <a:lnTo>
                  <a:pt x="817613" y="1565166"/>
                </a:lnTo>
                <a:cubicBezTo>
                  <a:pt x="805468" y="1557258"/>
                  <a:pt x="816534" y="1596564"/>
                  <a:pt x="804223" y="1601941"/>
                </a:cubicBezTo>
                <a:cubicBezTo>
                  <a:pt x="794287" y="1604654"/>
                  <a:pt x="795328" y="1617209"/>
                  <a:pt x="791773" y="1627005"/>
                </a:cubicBezTo>
                <a:cubicBezTo>
                  <a:pt x="781684" y="1634393"/>
                  <a:pt x="772978" y="1683187"/>
                  <a:pt x="774645" y="1699922"/>
                </a:cubicBezTo>
                <a:cubicBezTo>
                  <a:pt x="785341" y="1746767"/>
                  <a:pt x="744845" y="1787099"/>
                  <a:pt x="752343" y="1824604"/>
                </a:cubicBezTo>
                <a:cubicBezTo>
                  <a:pt x="751502" y="1834578"/>
                  <a:pt x="749297" y="1842929"/>
                  <a:pt x="746254" y="1850222"/>
                </a:cubicBezTo>
                <a:lnTo>
                  <a:pt x="728600" y="1869603"/>
                </a:lnTo>
                <a:lnTo>
                  <a:pt x="724396" y="1883104"/>
                </a:lnTo>
                <a:lnTo>
                  <a:pt x="722165" y="1885924"/>
                </a:lnTo>
                <a:lnTo>
                  <a:pt x="721338" y="1887123"/>
                </a:lnTo>
                <a:lnTo>
                  <a:pt x="714840" y="1902274"/>
                </a:lnTo>
                <a:lnTo>
                  <a:pt x="722847" y="1929891"/>
                </a:lnTo>
                <a:lnTo>
                  <a:pt x="714660" y="1982709"/>
                </a:lnTo>
                <a:cubicBezTo>
                  <a:pt x="727725" y="2006201"/>
                  <a:pt x="714739" y="1997091"/>
                  <a:pt x="710759" y="2013010"/>
                </a:cubicBezTo>
                <a:cubicBezTo>
                  <a:pt x="707970" y="2027531"/>
                  <a:pt x="700788" y="2054714"/>
                  <a:pt x="697927" y="2069833"/>
                </a:cubicBezTo>
                <a:cubicBezTo>
                  <a:pt x="685211" y="2080229"/>
                  <a:pt x="698762" y="2088241"/>
                  <a:pt x="693594" y="2103731"/>
                </a:cubicBezTo>
                <a:cubicBezTo>
                  <a:pt x="688481" y="2110649"/>
                  <a:pt x="687183" y="2115973"/>
                  <a:pt x="691109" y="2124027"/>
                </a:cubicBezTo>
                <a:cubicBezTo>
                  <a:pt x="666413" y="2155740"/>
                  <a:pt x="688031" y="2144874"/>
                  <a:pt x="676593" y="2176182"/>
                </a:cubicBezTo>
                <a:cubicBezTo>
                  <a:pt x="665190" y="2202944"/>
                  <a:pt x="656416" y="2233857"/>
                  <a:pt x="633227" y="2258036"/>
                </a:cubicBezTo>
                <a:cubicBezTo>
                  <a:pt x="626930" y="2262191"/>
                  <a:pt x="623498" y="2274069"/>
                  <a:pt x="625564" y="2284567"/>
                </a:cubicBezTo>
                <a:cubicBezTo>
                  <a:pt x="625918" y="2286374"/>
                  <a:pt x="626427" y="2288071"/>
                  <a:pt x="627074" y="2289605"/>
                </a:cubicBezTo>
                <a:cubicBezTo>
                  <a:pt x="619029" y="2296628"/>
                  <a:pt x="616453" y="2303188"/>
                  <a:pt x="614574" y="2308717"/>
                </a:cubicBezTo>
                <a:lnTo>
                  <a:pt x="606890" y="2320662"/>
                </a:lnTo>
                <a:lnTo>
                  <a:pt x="605558" y="2327897"/>
                </a:lnTo>
                <a:lnTo>
                  <a:pt x="602202" y="2357749"/>
                </a:lnTo>
                <a:lnTo>
                  <a:pt x="600213" y="2364905"/>
                </a:lnTo>
                <a:lnTo>
                  <a:pt x="597160" y="2388351"/>
                </a:lnTo>
                <a:lnTo>
                  <a:pt x="597982" y="2402296"/>
                </a:lnTo>
                <a:lnTo>
                  <a:pt x="593150" y="2420015"/>
                </a:lnTo>
                <a:cubicBezTo>
                  <a:pt x="593044" y="2420926"/>
                  <a:pt x="592939" y="2421838"/>
                  <a:pt x="592833" y="2422749"/>
                </a:cubicBezTo>
                <a:lnTo>
                  <a:pt x="594479" y="2426002"/>
                </a:lnTo>
                <a:cubicBezTo>
                  <a:pt x="594168" y="2427683"/>
                  <a:pt x="593118" y="2429721"/>
                  <a:pt x="591963" y="2431950"/>
                </a:cubicBezTo>
                <a:cubicBezTo>
                  <a:pt x="591823" y="2432599"/>
                  <a:pt x="591684" y="2433248"/>
                  <a:pt x="591544" y="2433897"/>
                </a:cubicBezTo>
                <a:lnTo>
                  <a:pt x="589519" y="2451398"/>
                </a:lnTo>
                <a:cubicBezTo>
                  <a:pt x="589692" y="2452777"/>
                  <a:pt x="589864" y="2454157"/>
                  <a:pt x="590037" y="2455536"/>
                </a:cubicBezTo>
                <a:lnTo>
                  <a:pt x="588179" y="2462981"/>
                </a:lnTo>
                <a:lnTo>
                  <a:pt x="583434" y="2503991"/>
                </a:lnTo>
                <a:cubicBezTo>
                  <a:pt x="576530" y="2566058"/>
                  <a:pt x="570433" y="2625224"/>
                  <a:pt x="567942" y="2652936"/>
                </a:cubicBezTo>
                <a:cubicBezTo>
                  <a:pt x="570864" y="2658290"/>
                  <a:pt x="572739" y="2664095"/>
                  <a:pt x="573869" y="2670188"/>
                </a:cubicBezTo>
                <a:lnTo>
                  <a:pt x="575243" y="2688114"/>
                </a:lnTo>
                <a:lnTo>
                  <a:pt x="573824" y="2689856"/>
                </a:lnTo>
                <a:cubicBezTo>
                  <a:pt x="569972" y="2698471"/>
                  <a:pt x="569572" y="2704494"/>
                  <a:pt x="570699" y="2709353"/>
                </a:cubicBezTo>
                <a:lnTo>
                  <a:pt x="573192" y="2714527"/>
                </a:lnTo>
                <a:cubicBezTo>
                  <a:pt x="572809" y="2719080"/>
                  <a:pt x="572427" y="2723634"/>
                  <a:pt x="572044" y="2728187"/>
                </a:cubicBezTo>
                <a:cubicBezTo>
                  <a:pt x="572184" y="2737412"/>
                  <a:pt x="572325" y="2746638"/>
                  <a:pt x="572465" y="2755863"/>
                </a:cubicBezTo>
                <a:lnTo>
                  <a:pt x="570028" y="2760324"/>
                </a:lnTo>
                <a:lnTo>
                  <a:pt x="566748" y="2800948"/>
                </a:lnTo>
                <a:lnTo>
                  <a:pt x="565509" y="2801167"/>
                </a:lnTo>
                <a:cubicBezTo>
                  <a:pt x="562655" y="2802587"/>
                  <a:pt x="560408" y="2805381"/>
                  <a:pt x="559367" y="2811129"/>
                </a:cubicBezTo>
                <a:cubicBezTo>
                  <a:pt x="543471" y="2797318"/>
                  <a:pt x="552020" y="2812773"/>
                  <a:pt x="550354" y="2830949"/>
                </a:cubicBezTo>
                <a:cubicBezTo>
                  <a:pt x="525292" y="2813553"/>
                  <a:pt x="531129" y="2868192"/>
                  <a:pt x="514795" y="2872433"/>
                </a:cubicBezTo>
                <a:lnTo>
                  <a:pt x="509875" y="2923099"/>
                </a:lnTo>
                <a:lnTo>
                  <a:pt x="509577" y="2923197"/>
                </a:lnTo>
                <a:cubicBezTo>
                  <a:pt x="508704" y="2924865"/>
                  <a:pt x="508038" y="2927556"/>
                  <a:pt x="507597" y="2931868"/>
                </a:cubicBezTo>
                <a:cubicBezTo>
                  <a:pt x="507524" y="2934019"/>
                  <a:pt x="507452" y="2936171"/>
                  <a:pt x="507379" y="2938322"/>
                </a:cubicBezTo>
                <a:lnTo>
                  <a:pt x="504725" y="2954519"/>
                </a:lnTo>
                <a:lnTo>
                  <a:pt x="502018" y="2959643"/>
                </a:lnTo>
                <a:lnTo>
                  <a:pt x="498360" y="2961019"/>
                </a:lnTo>
                <a:lnTo>
                  <a:pt x="498483" y="2962590"/>
                </a:lnTo>
                <a:cubicBezTo>
                  <a:pt x="502388" y="2975027"/>
                  <a:pt x="510202" y="2980016"/>
                  <a:pt x="484403" y="2990538"/>
                </a:cubicBezTo>
                <a:cubicBezTo>
                  <a:pt x="489425" y="3018352"/>
                  <a:pt x="474337" y="3021029"/>
                  <a:pt x="463075" y="3055956"/>
                </a:cubicBezTo>
                <a:cubicBezTo>
                  <a:pt x="469487" y="3072485"/>
                  <a:pt x="464165" y="3083955"/>
                  <a:pt x="455013" y="3094482"/>
                </a:cubicBezTo>
                <a:cubicBezTo>
                  <a:pt x="453131" y="3130054"/>
                  <a:pt x="437643" y="3160106"/>
                  <a:pt x="428391" y="3198850"/>
                </a:cubicBezTo>
                <a:lnTo>
                  <a:pt x="401440" y="3307560"/>
                </a:lnTo>
                <a:lnTo>
                  <a:pt x="386076" y="3373943"/>
                </a:lnTo>
                <a:cubicBezTo>
                  <a:pt x="386236" y="3376061"/>
                  <a:pt x="380537" y="3378856"/>
                  <a:pt x="374726" y="3381364"/>
                </a:cubicBezTo>
                <a:lnTo>
                  <a:pt x="369145" y="3383729"/>
                </a:lnTo>
                <a:lnTo>
                  <a:pt x="364294" y="3414159"/>
                </a:lnTo>
                <a:lnTo>
                  <a:pt x="366450" y="3436925"/>
                </a:lnTo>
                <a:lnTo>
                  <a:pt x="351743" y="3521619"/>
                </a:lnTo>
                <a:lnTo>
                  <a:pt x="345784" y="3603757"/>
                </a:lnTo>
                <a:cubicBezTo>
                  <a:pt x="345255" y="3619979"/>
                  <a:pt x="344727" y="3636202"/>
                  <a:pt x="344198" y="3652424"/>
                </a:cubicBezTo>
                <a:lnTo>
                  <a:pt x="352450" y="3665222"/>
                </a:lnTo>
                <a:lnTo>
                  <a:pt x="342621" y="3700804"/>
                </a:lnTo>
                <a:lnTo>
                  <a:pt x="341514" y="3734774"/>
                </a:lnTo>
                <a:cubicBezTo>
                  <a:pt x="341212" y="3751567"/>
                  <a:pt x="340909" y="3768360"/>
                  <a:pt x="340607" y="3785153"/>
                </a:cubicBezTo>
                <a:cubicBezTo>
                  <a:pt x="340640" y="3786161"/>
                  <a:pt x="340674" y="3787169"/>
                  <a:pt x="340707" y="3788177"/>
                </a:cubicBezTo>
                <a:cubicBezTo>
                  <a:pt x="340592" y="3791719"/>
                  <a:pt x="340476" y="3795261"/>
                  <a:pt x="340361" y="3798803"/>
                </a:cubicBezTo>
                <a:cubicBezTo>
                  <a:pt x="340121" y="3812119"/>
                  <a:pt x="339882" y="3825434"/>
                  <a:pt x="339642" y="3838750"/>
                </a:cubicBezTo>
                <a:cubicBezTo>
                  <a:pt x="337363" y="3949044"/>
                  <a:pt x="361794" y="3960437"/>
                  <a:pt x="360295" y="4015196"/>
                </a:cubicBezTo>
                <a:lnTo>
                  <a:pt x="339043" y="4052778"/>
                </a:lnTo>
                <a:lnTo>
                  <a:pt x="339343" y="4096257"/>
                </a:lnTo>
                <a:cubicBezTo>
                  <a:pt x="362058" y="4159145"/>
                  <a:pt x="332404" y="4250479"/>
                  <a:pt x="340786" y="4321136"/>
                </a:cubicBezTo>
                <a:cubicBezTo>
                  <a:pt x="341421" y="4376624"/>
                  <a:pt x="344189" y="4407708"/>
                  <a:pt x="343158" y="4429174"/>
                </a:cubicBezTo>
                <a:cubicBezTo>
                  <a:pt x="340948" y="4436304"/>
                  <a:pt x="337887" y="4443121"/>
                  <a:pt x="334599" y="4449938"/>
                </a:cubicBezTo>
                <a:lnTo>
                  <a:pt x="332890" y="4453515"/>
                </a:lnTo>
                <a:lnTo>
                  <a:pt x="331105" y="4467941"/>
                </a:lnTo>
                <a:lnTo>
                  <a:pt x="324289" y="4471861"/>
                </a:lnTo>
                <a:lnTo>
                  <a:pt x="317079" y="4493468"/>
                </a:lnTo>
                <a:cubicBezTo>
                  <a:pt x="315353" y="4501584"/>
                  <a:pt x="314639" y="4510343"/>
                  <a:pt x="315557" y="4520067"/>
                </a:cubicBezTo>
                <a:cubicBezTo>
                  <a:pt x="315451" y="4525669"/>
                  <a:pt x="315346" y="4531270"/>
                  <a:pt x="315240" y="4536872"/>
                </a:cubicBezTo>
                <a:lnTo>
                  <a:pt x="316200" y="4538297"/>
                </a:lnTo>
                <a:cubicBezTo>
                  <a:pt x="316738" y="4541182"/>
                  <a:pt x="316785" y="4544563"/>
                  <a:pt x="317507" y="4547582"/>
                </a:cubicBezTo>
                <a:cubicBezTo>
                  <a:pt x="322716" y="4552468"/>
                  <a:pt x="324912" y="4582137"/>
                  <a:pt x="323078" y="4592102"/>
                </a:cubicBezTo>
                <a:cubicBezTo>
                  <a:pt x="314597" y="4619728"/>
                  <a:pt x="334923" y="4645745"/>
                  <a:pt x="328722" y="4667914"/>
                </a:cubicBezTo>
                <a:cubicBezTo>
                  <a:pt x="330810" y="4685069"/>
                  <a:pt x="333803" y="4690356"/>
                  <a:pt x="335597" y="4695035"/>
                </a:cubicBezTo>
                <a:lnTo>
                  <a:pt x="339485" y="4695979"/>
                </a:lnTo>
                <a:lnTo>
                  <a:pt x="341089" y="4704268"/>
                </a:lnTo>
                <a:lnTo>
                  <a:pt x="342177" y="4706060"/>
                </a:lnTo>
                <a:cubicBezTo>
                  <a:pt x="344268" y="4709474"/>
                  <a:pt x="346234" y="4712931"/>
                  <a:pt x="347751" y="4716754"/>
                </a:cubicBezTo>
                <a:lnTo>
                  <a:pt x="344125" y="4764669"/>
                </a:lnTo>
                <a:lnTo>
                  <a:pt x="340188" y="4779386"/>
                </a:lnTo>
                <a:lnTo>
                  <a:pt x="335146" y="4787491"/>
                </a:lnTo>
                <a:lnTo>
                  <a:pt x="319124" y="4843514"/>
                </a:lnTo>
                <a:lnTo>
                  <a:pt x="305956" y="4881505"/>
                </a:lnTo>
                <a:lnTo>
                  <a:pt x="301062" y="4889332"/>
                </a:lnTo>
                <a:lnTo>
                  <a:pt x="302141" y="4899400"/>
                </a:lnTo>
                <a:cubicBezTo>
                  <a:pt x="302767" y="4900706"/>
                  <a:pt x="303536" y="4901803"/>
                  <a:pt x="304424" y="4902664"/>
                </a:cubicBezTo>
                <a:lnTo>
                  <a:pt x="293123" y="4932769"/>
                </a:lnTo>
                <a:lnTo>
                  <a:pt x="292275" y="4936482"/>
                </a:lnTo>
                <a:lnTo>
                  <a:pt x="288304" y="4962325"/>
                </a:lnTo>
                <a:cubicBezTo>
                  <a:pt x="288009" y="4988948"/>
                  <a:pt x="287715" y="5015570"/>
                  <a:pt x="287420" y="5042193"/>
                </a:cubicBezTo>
                <a:cubicBezTo>
                  <a:pt x="295373" y="5039737"/>
                  <a:pt x="281659" y="5060438"/>
                  <a:pt x="287020" y="5065655"/>
                </a:cubicBezTo>
                <a:cubicBezTo>
                  <a:pt x="291675" y="5068928"/>
                  <a:pt x="288601" y="5075970"/>
                  <a:pt x="288488" y="5082216"/>
                </a:cubicBezTo>
                <a:cubicBezTo>
                  <a:pt x="292282" y="5088207"/>
                  <a:pt x="287008" y="5117775"/>
                  <a:pt x="282763" y="5127114"/>
                </a:cubicBezTo>
                <a:cubicBezTo>
                  <a:pt x="267723" y="5152218"/>
                  <a:pt x="280799" y="5182399"/>
                  <a:pt x="269316" y="5202682"/>
                </a:cubicBezTo>
                <a:cubicBezTo>
                  <a:pt x="267050" y="5219969"/>
                  <a:pt x="268614" y="5225841"/>
                  <a:pt x="269174" y="5230835"/>
                </a:cubicBezTo>
                <a:lnTo>
                  <a:pt x="272679" y="5232660"/>
                </a:lnTo>
                <a:lnTo>
                  <a:pt x="272160" y="5241150"/>
                </a:lnTo>
                <a:lnTo>
                  <a:pt x="272760" y="5243156"/>
                </a:lnTo>
                <a:cubicBezTo>
                  <a:pt x="273922" y="5246984"/>
                  <a:pt x="274952" y="5250824"/>
                  <a:pt x="275462" y="5254919"/>
                </a:cubicBezTo>
                <a:cubicBezTo>
                  <a:pt x="258407" y="5258851"/>
                  <a:pt x="276976" y="5290392"/>
                  <a:pt x="262897" y="5286259"/>
                </a:cubicBezTo>
                <a:cubicBezTo>
                  <a:pt x="262724" y="5309439"/>
                  <a:pt x="239612" y="5337531"/>
                  <a:pt x="252761" y="5357801"/>
                </a:cubicBezTo>
                <a:cubicBezTo>
                  <a:pt x="248775" y="5392256"/>
                  <a:pt x="247799" y="5423412"/>
                  <a:pt x="242360" y="5460080"/>
                </a:cubicBezTo>
                <a:cubicBezTo>
                  <a:pt x="232632" y="5488478"/>
                  <a:pt x="242025" y="5519143"/>
                  <a:pt x="229880" y="5539714"/>
                </a:cubicBezTo>
                <a:cubicBezTo>
                  <a:pt x="230558" y="5572454"/>
                  <a:pt x="222150" y="5613340"/>
                  <a:pt x="204283" y="5639080"/>
                </a:cubicBezTo>
                <a:cubicBezTo>
                  <a:pt x="201596" y="5674226"/>
                  <a:pt x="191051" y="5680198"/>
                  <a:pt x="198948" y="5710958"/>
                </a:cubicBezTo>
                <a:cubicBezTo>
                  <a:pt x="196338" y="5713534"/>
                  <a:pt x="194185" y="5716550"/>
                  <a:pt x="192367" y="5719859"/>
                </a:cubicBezTo>
                <a:lnTo>
                  <a:pt x="188035" y="5729935"/>
                </a:lnTo>
                <a:lnTo>
                  <a:pt x="188428" y="5731182"/>
                </a:lnTo>
                <a:lnTo>
                  <a:pt x="181635" y="5753538"/>
                </a:lnTo>
                <a:lnTo>
                  <a:pt x="169744" y="5796307"/>
                </a:lnTo>
                <a:lnTo>
                  <a:pt x="170351" y="5796644"/>
                </a:lnTo>
                <a:cubicBezTo>
                  <a:pt x="171558" y="5797954"/>
                  <a:pt x="172173" y="5799948"/>
                  <a:pt x="171559" y="5803435"/>
                </a:cubicBezTo>
                <a:cubicBezTo>
                  <a:pt x="182664" y="5798231"/>
                  <a:pt x="175075" y="5805646"/>
                  <a:pt x="172284" y="5816391"/>
                </a:cubicBezTo>
                <a:cubicBezTo>
                  <a:pt x="188911" y="5810703"/>
                  <a:pt x="174844" y="5841128"/>
                  <a:pt x="182542" y="5846382"/>
                </a:cubicBezTo>
                <a:cubicBezTo>
                  <a:pt x="180118" y="5854404"/>
                  <a:pt x="177856" y="5862781"/>
                  <a:pt x="175877" y="5871336"/>
                </a:cubicBezTo>
                <a:lnTo>
                  <a:pt x="174910" y="5876376"/>
                </a:lnTo>
                <a:lnTo>
                  <a:pt x="175047" y="5876483"/>
                </a:lnTo>
                <a:cubicBezTo>
                  <a:pt x="175167" y="5877594"/>
                  <a:pt x="174973" y="5879257"/>
                  <a:pt x="174335" y="5881814"/>
                </a:cubicBezTo>
                <a:lnTo>
                  <a:pt x="171273" y="5895339"/>
                </a:lnTo>
                <a:cubicBezTo>
                  <a:pt x="171401" y="5896476"/>
                  <a:pt x="171530" y="5897612"/>
                  <a:pt x="171658" y="5898749"/>
                </a:cubicBezTo>
                <a:lnTo>
                  <a:pt x="174658" y="5919558"/>
                </a:lnTo>
                <a:cubicBezTo>
                  <a:pt x="173958" y="5933601"/>
                  <a:pt x="171208" y="5962838"/>
                  <a:pt x="169099" y="5984417"/>
                </a:cubicBezTo>
                <a:cubicBezTo>
                  <a:pt x="162916" y="6005205"/>
                  <a:pt x="164971" y="6025162"/>
                  <a:pt x="162007" y="6049043"/>
                </a:cubicBezTo>
                <a:cubicBezTo>
                  <a:pt x="150795" y="6073830"/>
                  <a:pt x="160091" y="6088483"/>
                  <a:pt x="156875" y="6114000"/>
                </a:cubicBezTo>
                <a:cubicBezTo>
                  <a:pt x="141597" y="6134477"/>
                  <a:pt x="163381" y="6133378"/>
                  <a:pt x="165441" y="6146938"/>
                </a:cubicBezTo>
                <a:lnTo>
                  <a:pt x="165177" y="6150658"/>
                </a:lnTo>
                <a:lnTo>
                  <a:pt x="161772" y="6160011"/>
                </a:lnTo>
                <a:lnTo>
                  <a:pt x="160051" y="6163393"/>
                </a:lnTo>
                <a:cubicBezTo>
                  <a:pt x="159032" y="6165775"/>
                  <a:pt x="158564" y="6167421"/>
                  <a:pt x="158473" y="6168628"/>
                </a:cubicBezTo>
                <a:cubicBezTo>
                  <a:pt x="158506" y="6168685"/>
                  <a:pt x="158540" y="6168742"/>
                  <a:pt x="158573" y="6168799"/>
                </a:cubicBezTo>
                <a:lnTo>
                  <a:pt x="146463" y="6196671"/>
                </a:lnTo>
                <a:cubicBezTo>
                  <a:pt x="152348" y="6205503"/>
                  <a:pt x="134460" y="6231012"/>
                  <a:pt x="150209" y="6232365"/>
                </a:cubicBezTo>
                <a:cubicBezTo>
                  <a:pt x="145821" y="6242321"/>
                  <a:pt x="137774" y="6246719"/>
                  <a:pt x="148544" y="6246162"/>
                </a:cubicBezTo>
                <a:cubicBezTo>
                  <a:pt x="147378" y="6249522"/>
                  <a:pt x="147566" y="6251866"/>
                  <a:pt x="148403" y="6253754"/>
                </a:cubicBezTo>
                <a:lnTo>
                  <a:pt x="138880" y="6276449"/>
                </a:lnTo>
                <a:cubicBezTo>
                  <a:pt x="138814" y="6277540"/>
                  <a:pt x="138749" y="6278630"/>
                  <a:pt x="138683" y="6279721"/>
                </a:cubicBezTo>
                <a:lnTo>
                  <a:pt x="130721" y="6293675"/>
                </a:lnTo>
                <a:lnTo>
                  <a:pt x="120717" y="6313967"/>
                </a:lnTo>
                <a:cubicBezTo>
                  <a:pt x="120758" y="6314457"/>
                  <a:pt x="120800" y="6314947"/>
                  <a:pt x="120841" y="6315437"/>
                </a:cubicBezTo>
                <a:lnTo>
                  <a:pt x="115208" y="6324024"/>
                </a:lnTo>
                <a:cubicBezTo>
                  <a:pt x="113007" y="6326672"/>
                  <a:pt x="103991" y="6364381"/>
                  <a:pt x="101217" y="6365923"/>
                </a:cubicBezTo>
                <a:lnTo>
                  <a:pt x="74946" y="6556817"/>
                </a:lnTo>
                <a:cubicBezTo>
                  <a:pt x="55357" y="6665926"/>
                  <a:pt x="35695" y="6744075"/>
                  <a:pt x="16001" y="6808678"/>
                </a:cubicBezTo>
                <a:lnTo>
                  <a:pt x="0" y="6858000"/>
                </a:lnTo>
                <a:lnTo>
                  <a:pt x="5734864" y="6858000"/>
                </a:lnTo>
                <a:lnTo>
                  <a:pt x="5734864"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3">
            <a:extLst>
              <a:ext uri="{FF2B5EF4-FFF2-40B4-BE49-F238E27FC236}">
                <a16:creationId xmlns:a16="http://schemas.microsoft.com/office/drawing/2014/main" id="{4A2B91EF-39D1-423D-9665-EE48BC01848E}"/>
              </a:ext>
            </a:extLst>
          </p:cNvPr>
          <p:cNvSpPr>
            <a:spLocks noGrp="1"/>
          </p:cNvSpPr>
          <p:nvPr>
            <p:ph type="title"/>
          </p:nvPr>
        </p:nvSpPr>
        <p:spPr>
          <a:xfrm>
            <a:off x="773408" y="992094"/>
            <a:ext cx="3616913" cy="2795160"/>
          </a:xfrm>
        </p:spPr>
        <p:txBody>
          <a:bodyPr vert="horz" lIns="91440" tIns="45720" rIns="91440" bIns="45720" rtlCol="0" anchor="b">
            <a:normAutofit/>
          </a:bodyPr>
          <a:lstStyle/>
          <a:p>
            <a:pPr algn="ctr"/>
            <a:r>
              <a:rPr lang="en-US" sz="4400" kern="1200">
                <a:solidFill>
                  <a:schemeClr val="tx1"/>
                </a:solidFill>
                <a:latin typeface="+mj-lt"/>
                <a:ea typeface="+mj-ea"/>
                <a:cs typeface="+mj-cs"/>
              </a:rPr>
              <a:t>Please Provide Feedback</a:t>
            </a:r>
          </a:p>
        </p:txBody>
      </p:sp>
      <p:pic>
        <p:nvPicPr>
          <p:cNvPr id="8" name="Picture 7" descr="Qr code&#10;&#10;Description automatically generated">
            <a:extLst>
              <a:ext uri="{FF2B5EF4-FFF2-40B4-BE49-F238E27FC236}">
                <a16:creationId xmlns:a16="http://schemas.microsoft.com/office/drawing/2014/main" id="{28356306-494A-422D-BBCC-29E6368E41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4687" y="1592512"/>
            <a:ext cx="4073769" cy="4073769"/>
          </a:xfrm>
          <a:prstGeom prst="rect">
            <a:avLst/>
          </a:prstGeom>
        </p:spPr>
      </p:pic>
    </p:spTree>
    <p:extLst>
      <p:ext uri="{BB962C8B-B14F-4D97-AF65-F5344CB8AC3E}">
        <p14:creationId xmlns:p14="http://schemas.microsoft.com/office/powerpoint/2010/main" val="384436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xfrm>
            <a:off x="6802395" y="1453759"/>
            <a:ext cx="4874740" cy="2889114"/>
          </a:xfrm>
        </p:spPr>
        <p:txBody>
          <a:bodyPr vert="horz" lIns="91440" tIns="45720" rIns="91440" bIns="45720" rtlCol="0" anchor="b">
            <a:normAutofit/>
          </a:bodyPr>
          <a:lstStyle/>
          <a:p>
            <a:r>
              <a:rPr lang="en-US" sz="5400"/>
              <a:t>Monitoring &amp; Troubleshooting</a:t>
            </a:r>
          </a:p>
        </p:txBody>
      </p:sp>
      <p:pic>
        <p:nvPicPr>
          <p:cNvPr id="4" name="Picture 3" descr="A picture containing table, card, sitting&#10;&#10;Description automatically generated">
            <a:extLst>
              <a:ext uri="{FF2B5EF4-FFF2-40B4-BE49-F238E27FC236}">
                <a16:creationId xmlns:a16="http://schemas.microsoft.com/office/drawing/2014/main" id="{EF159981-6EF9-47F4-A8A4-E56462D80BEE}"/>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4213" r="987" b="-1"/>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custDataLst>
      <p:tags r:id="rId1"/>
    </p:custDataLst>
    <p:extLst>
      <p:ext uri="{BB962C8B-B14F-4D97-AF65-F5344CB8AC3E}">
        <p14:creationId xmlns:p14="http://schemas.microsoft.com/office/powerpoint/2010/main" val="8867218"/>
      </p:ext>
    </p:extLst>
  </p:cSld>
  <p:clrMapOvr>
    <a:overrideClrMapping bg1="dk1" tx1="lt1" bg2="dk2" tx2="lt2" accent1="accent1" accent2="accent2" accent3="accent3" accent4="accent4" accent5="accent5" accent6="accent6" hlink="hlink" folHlink="folHlink"/>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xfrm>
            <a:off x="6746628" y="1783959"/>
            <a:ext cx="4645250" cy="2889114"/>
          </a:xfrm>
        </p:spPr>
        <p:txBody>
          <a:bodyPr vert="horz" lIns="91440" tIns="45720" rIns="91440" bIns="45720" rtlCol="0" anchor="b">
            <a:normAutofit/>
          </a:bodyPr>
          <a:lstStyle/>
          <a:p>
            <a:r>
              <a:rPr lang="en-US" sz="6000"/>
              <a:t>Learnings covered in Unit</a:t>
            </a:r>
          </a:p>
        </p:txBody>
      </p:sp>
      <p:grpSp>
        <p:nvGrpSpPr>
          <p:cNvPr id="3" name="Group 2">
            <a:extLst>
              <a:ext uri="{FF2B5EF4-FFF2-40B4-BE49-F238E27FC236}">
                <a16:creationId xmlns:a16="http://schemas.microsoft.com/office/drawing/2014/main" id="{2BDB60E9-4730-4FB4-A82D-9B0243B37DA7}"/>
              </a:ext>
            </a:extLst>
          </p:cNvPr>
          <p:cNvGrpSpPr/>
          <p:nvPr/>
        </p:nvGrpSpPr>
        <p:grpSpPr>
          <a:xfrm>
            <a:off x="900451" y="1190831"/>
            <a:ext cx="4142329" cy="4476638"/>
            <a:chOff x="900451" y="1190831"/>
            <a:chExt cx="4142329" cy="4476638"/>
          </a:xfrm>
        </p:grpSpPr>
        <p:sp>
          <p:nvSpPr>
            <p:cNvPr id="4" name="Rectangle 3">
              <a:extLst>
                <a:ext uri="{FF2B5EF4-FFF2-40B4-BE49-F238E27FC236}">
                  <a16:creationId xmlns:a16="http://schemas.microsoft.com/office/drawing/2014/main" id="{6552E763-480A-45D7-9486-E86C8123BCD7}"/>
                </a:ext>
              </a:extLst>
            </p:cNvPr>
            <p:cNvSpPr/>
            <p:nvPr/>
          </p:nvSpPr>
          <p:spPr>
            <a:xfrm>
              <a:off x="900451" y="1190831"/>
              <a:ext cx="4142329" cy="4476638"/>
            </a:xfrm>
            <a:prstGeom prst="rect">
              <a:avLst/>
            </a:prstGeom>
            <a:noFill/>
          </p:spPr>
        </p:sp>
        <p:sp>
          <p:nvSpPr>
            <p:cNvPr id="6" name="Rectangle: Rounded Corners 5">
              <a:extLst>
                <a:ext uri="{FF2B5EF4-FFF2-40B4-BE49-F238E27FC236}">
                  <a16:creationId xmlns:a16="http://schemas.microsoft.com/office/drawing/2014/main" id="{54F482BB-9E1A-49B9-9620-3026C2EEBD28}"/>
                </a:ext>
              </a:extLst>
            </p:cNvPr>
            <p:cNvSpPr/>
            <p:nvPr/>
          </p:nvSpPr>
          <p:spPr>
            <a:xfrm>
              <a:off x="900451" y="1190831"/>
              <a:ext cx="4142329" cy="459030"/>
            </a:xfrm>
            <a:prstGeom prst="roundRect">
              <a:avLst>
                <a:gd name="adj" fmla="val 10000"/>
              </a:avLst>
            </a:prstGeom>
          </p:spPr>
          <p:style>
            <a:lnRef idx="0">
              <a:schemeClr val="dk2">
                <a:hueOff val="0"/>
                <a:satOff val="0"/>
                <a:lumOff val="0"/>
                <a:alphaOff val="0"/>
              </a:schemeClr>
            </a:lnRef>
            <a:fillRef idx="1">
              <a:schemeClr val="dk2">
                <a:tint val="40000"/>
                <a:hueOff val="0"/>
                <a:satOff val="0"/>
                <a:lumOff val="0"/>
                <a:alphaOff val="0"/>
              </a:schemeClr>
            </a:fillRef>
            <a:effectRef idx="2">
              <a:schemeClr val="dk2">
                <a:tint val="40000"/>
                <a:hueOff val="0"/>
                <a:satOff val="0"/>
                <a:lumOff val="0"/>
                <a:alphaOff val="0"/>
              </a:schemeClr>
            </a:effectRef>
            <a:fontRef idx="minor">
              <a:schemeClr val="dk1">
                <a:hueOff val="0"/>
                <a:satOff val="0"/>
                <a:lumOff val="0"/>
                <a:alphaOff val="0"/>
              </a:schemeClr>
            </a:fontRef>
          </p:style>
        </p:sp>
        <p:sp>
          <p:nvSpPr>
            <p:cNvPr id="7" name="Rectangle 6" descr="Blueprint">
              <a:extLst>
                <a:ext uri="{FF2B5EF4-FFF2-40B4-BE49-F238E27FC236}">
                  <a16:creationId xmlns:a16="http://schemas.microsoft.com/office/drawing/2014/main" id="{EEA4CDA2-F649-49F8-B10A-0A28B68C208E}"/>
                </a:ext>
              </a:extLst>
            </p:cNvPr>
            <p:cNvSpPr/>
            <p:nvPr/>
          </p:nvSpPr>
          <p:spPr>
            <a:xfrm>
              <a:off x="1058940" y="1335397"/>
              <a:ext cx="213200" cy="170990"/>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t="-12000" b="-12000"/>
              </a:stretch>
            </a:blipFill>
          </p:spPr>
          <p:style>
            <a:lnRef idx="0">
              <a:schemeClr val="lt2">
                <a:hueOff val="0"/>
                <a:satOff val="0"/>
                <a:lumOff val="0"/>
                <a:alphaOff val="0"/>
              </a:schemeClr>
            </a:lnRef>
            <a:fillRef idx="3">
              <a:scrgbClr r="0" g="0" b="0"/>
            </a:fillRef>
            <a:effectRef idx="3">
              <a:schemeClr val="dk2">
                <a:hueOff val="0"/>
                <a:satOff val="0"/>
                <a:lumOff val="0"/>
                <a:alphaOff val="0"/>
              </a:schemeClr>
            </a:effectRef>
            <a:fontRef idx="minor">
              <a:schemeClr val="lt1"/>
            </a:fontRef>
          </p:style>
        </p:sp>
        <p:sp>
          <p:nvSpPr>
            <p:cNvPr id="8" name="Freeform: Shape 7">
              <a:extLst>
                <a:ext uri="{FF2B5EF4-FFF2-40B4-BE49-F238E27FC236}">
                  <a16:creationId xmlns:a16="http://schemas.microsoft.com/office/drawing/2014/main" id="{41E00F15-03D6-46F6-A748-AD469F002750}"/>
                </a:ext>
              </a:extLst>
            </p:cNvPr>
            <p:cNvSpPr/>
            <p:nvPr/>
          </p:nvSpPr>
          <p:spPr>
            <a:xfrm>
              <a:off x="1430630" y="1191377"/>
              <a:ext cx="3612149" cy="459030"/>
            </a:xfrm>
            <a:custGeom>
              <a:avLst/>
              <a:gdLst>
                <a:gd name="connsiteX0" fmla="*/ 0 w 3612149"/>
                <a:gd name="connsiteY0" fmla="*/ 0 h 459030"/>
                <a:gd name="connsiteX1" fmla="*/ 3612149 w 3612149"/>
                <a:gd name="connsiteY1" fmla="*/ 0 h 459030"/>
                <a:gd name="connsiteX2" fmla="*/ 3612149 w 3612149"/>
                <a:gd name="connsiteY2" fmla="*/ 459030 h 459030"/>
                <a:gd name="connsiteX3" fmla="*/ 0 w 3612149"/>
                <a:gd name="connsiteY3" fmla="*/ 459030 h 459030"/>
                <a:gd name="connsiteX4" fmla="*/ 0 w 3612149"/>
                <a:gd name="connsiteY4" fmla="*/ 0 h 459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2149" h="459030">
                  <a:moveTo>
                    <a:pt x="0" y="0"/>
                  </a:moveTo>
                  <a:lnTo>
                    <a:pt x="3612149" y="0"/>
                  </a:lnTo>
                  <a:lnTo>
                    <a:pt x="3612149" y="459030"/>
                  </a:lnTo>
                  <a:lnTo>
                    <a:pt x="0" y="459030"/>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48581" tIns="48581" rIns="48581" bIns="48581" numCol="1" spcCol="1270" anchor="ctr" anchorCtr="0">
              <a:noAutofit/>
            </a:bodyPr>
            <a:lstStyle/>
            <a:p>
              <a:pPr marL="0" lvl="0" indent="0" algn="l" defTabSz="711200">
                <a:lnSpc>
                  <a:spcPct val="100000"/>
                </a:lnSpc>
                <a:spcBef>
                  <a:spcPct val="0"/>
                </a:spcBef>
                <a:spcAft>
                  <a:spcPct val="35000"/>
                </a:spcAft>
                <a:buNone/>
              </a:pPr>
              <a:r>
                <a:rPr lang="en-US" sz="1600" kern="1200"/>
                <a:t>Troubleshooting Compute</a:t>
              </a:r>
            </a:p>
          </p:txBody>
        </p:sp>
        <p:sp>
          <p:nvSpPr>
            <p:cNvPr id="9" name="Rectangle: Rounded Corners 8">
              <a:extLst>
                <a:ext uri="{FF2B5EF4-FFF2-40B4-BE49-F238E27FC236}">
                  <a16:creationId xmlns:a16="http://schemas.microsoft.com/office/drawing/2014/main" id="{F5841441-2FA7-4B3D-9375-D4EB5776B908}"/>
                </a:ext>
              </a:extLst>
            </p:cNvPr>
            <p:cNvSpPr/>
            <p:nvPr/>
          </p:nvSpPr>
          <p:spPr>
            <a:xfrm>
              <a:off x="900451" y="1765165"/>
              <a:ext cx="4142329" cy="459030"/>
            </a:xfrm>
            <a:prstGeom prst="roundRect">
              <a:avLst>
                <a:gd name="adj" fmla="val 10000"/>
              </a:avLst>
            </a:prstGeom>
          </p:spPr>
          <p:style>
            <a:lnRef idx="0">
              <a:schemeClr val="dk2">
                <a:hueOff val="0"/>
                <a:satOff val="0"/>
                <a:lumOff val="0"/>
                <a:alphaOff val="0"/>
              </a:schemeClr>
            </a:lnRef>
            <a:fillRef idx="1">
              <a:schemeClr val="dk2">
                <a:tint val="40000"/>
                <a:hueOff val="0"/>
                <a:satOff val="0"/>
                <a:lumOff val="0"/>
                <a:alphaOff val="0"/>
              </a:schemeClr>
            </a:fillRef>
            <a:effectRef idx="2">
              <a:schemeClr val="dk2">
                <a:tint val="40000"/>
                <a:hueOff val="0"/>
                <a:satOff val="0"/>
                <a:lumOff val="0"/>
                <a:alphaOff val="0"/>
              </a:schemeClr>
            </a:effectRef>
            <a:fontRef idx="minor">
              <a:schemeClr val="dk1">
                <a:hueOff val="0"/>
                <a:satOff val="0"/>
                <a:lumOff val="0"/>
                <a:alphaOff val="0"/>
              </a:schemeClr>
            </a:fontRef>
          </p:style>
        </p:sp>
        <p:sp>
          <p:nvSpPr>
            <p:cNvPr id="10" name="Rectangle 9" descr="Rocket">
              <a:extLst>
                <a:ext uri="{FF2B5EF4-FFF2-40B4-BE49-F238E27FC236}">
                  <a16:creationId xmlns:a16="http://schemas.microsoft.com/office/drawing/2014/main" id="{4338C235-C3D2-413D-ABB3-8BEDBF25C910}"/>
                </a:ext>
              </a:extLst>
            </p:cNvPr>
            <p:cNvSpPr/>
            <p:nvPr/>
          </p:nvSpPr>
          <p:spPr>
            <a:xfrm>
              <a:off x="1039307" y="1868447"/>
              <a:ext cx="252466" cy="252466"/>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style>
            <a:lnRef idx="0">
              <a:schemeClr val="lt2">
                <a:hueOff val="0"/>
                <a:satOff val="0"/>
                <a:lumOff val="0"/>
                <a:alphaOff val="0"/>
              </a:schemeClr>
            </a:lnRef>
            <a:fillRef idx="3">
              <a:scrgbClr r="0" g="0" b="0"/>
            </a:fillRef>
            <a:effectRef idx="3">
              <a:schemeClr val="dk2">
                <a:hueOff val="0"/>
                <a:satOff val="0"/>
                <a:lumOff val="0"/>
                <a:alphaOff val="0"/>
              </a:schemeClr>
            </a:effectRef>
            <a:fontRef idx="minor">
              <a:schemeClr val="lt1"/>
            </a:fontRef>
          </p:style>
        </p:sp>
        <p:sp>
          <p:nvSpPr>
            <p:cNvPr id="11" name="Freeform: Shape 10">
              <a:extLst>
                <a:ext uri="{FF2B5EF4-FFF2-40B4-BE49-F238E27FC236}">
                  <a16:creationId xmlns:a16="http://schemas.microsoft.com/office/drawing/2014/main" id="{5625EE11-789D-4477-9C20-E1DCC24D36A1}"/>
                </a:ext>
              </a:extLst>
            </p:cNvPr>
            <p:cNvSpPr/>
            <p:nvPr/>
          </p:nvSpPr>
          <p:spPr>
            <a:xfrm>
              <a:off x="1430630" y="1765165"/>
              <a:ext cx="3612149" cy="459030"/>
            </a:xfrm>
            <a:custGeom>
              <a:avLst/>
              <a:gdLst>
                <a:gd name="connsiteX0" fmla="*/ 0 w 3612149"/>
                <a:gd name="connsiteY0" fmla="*/ 0 h 459030"/>
                <a:gd name="connsiteX1" fmla="*/ 3612149 w 3612149"/>
                <a:gd name="connsiteY1" fmla="*/ 0 h 459030"/>
                <a:gd name="connsiteX2" fmla="*/ 3612149 w 3612149"/>
                <a:gd name="connsiteY2" fmla="*/ 459030 h 459030"/>
                <a:gd name="connsiteX3" fmla="*/ 0 w 3612149"/>
                <a:gd name="connsiteY3" fmla="*/ 459030 h 459030"/>
                <a:gd name="connsiteX4" fmla="*/ 0 w 3612149"/>
                <a:gd name="connsiteY4" fmla="*/ 0 h 459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2149" h="459030">
                  <a:moveTo>
                    <a:pt x="0" y="0"/>
                  </a:moveTo>
                  <a:lnTo>
                    <a:pt x="3612149" y="0"/>
                  </a:lnTo>
                  <a:lnTo>
                    <a:pt x="3612149" y="459030"/>
                  </a:lnTo>
                  <a:lnTo>
                    <a:pt x="0" y="459030"/>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48581" tIns="48581" rIns="48581" bIns="48581" numCol="1" spcCol="1270" anchor="ctr" anchorCtr="0">
              <a:noAutofit/>
            </a:bodyPr>
            <a:lstStyle/>
            <a:p>
              <a:pPr marL="0" lvl="0" indent="0" algn="l" defTabSz="711200">
                <a:lnSpc>
                  <a:spcPct val="100000"/>
                </a:lnSpc>
                <a:spcBef>
                  <a:spcPct val="0"/>
                </a:spcBef>
                <a:spcAft>
                  <a:spcPct val="35000"/>
                </a:spcAft>
                <a:buNone/>
              </a:pPr>
              <a:endParaRPr lang="en-US" sz="1600" kern="1200"/>
            </a:p>
          </p:txBody>
        </p:sp>
        <p:sp>
          <p:nvSpPr>
            <p:cNvPr id="12" name="Rectangle: Rounded Corners 11">
              <a:extLst>
                <a:ext uri="{FF2B5EF4-FFF2-40B4-BE49-F238E27FC236}">
                  <a16:creationId xmlns:a16="http://schemas.microsoft.com/office/drawing/2014/main" id="{B8FE81F3-CA2A-4F67-9698-55BD0D0CF9EB}"/>
                </a:ext>
              </a:extLst>
            </p:cNvPr>
            <p:cNvSpPr/>
            <p:nvPr/>
          </p:nvSpPr>
          <p:spPr>
            <a:xfrm>
              <a:off x="900451" y="2338953"/>
              <a:ext cx="4142329" cy="459030"/>
            </a:xfrm>
            <a:prstGeom prst="roundRect">
              <a:avLst>
                <a:gd name="adj" fmla="val 10000"/>
              </a:avLst>
            </a:prstGeom>
          </p:spPr>
          <p:style>
            <a:lnRef idx="0">
              <a:schemeClr val="dk2">
                <a:hueOff val="0"/>
                <a:satOff val="0"/>
                <a:lumOff val="0"/>
                <a:alphaOff val="0"/>
              </a:schemeClr>
            </a:lnRef>
            <a:fillRef idx="1">
              <a:schemeClr val="dk2">
                <a:tint val="40000"/>
                <a:hueOff val="0"/>
                <a:satOff val="0"/>
                <a:lumOff val="0"/>
                <a:alphaOff val="0"/>
              </a:schemeClr>
            </a:fillRef>
            <a:effectRef idx="2">
              <a:schemeClr val="dk2">
                <a:tint val="40000"/>
                <a:hueOff val="0"/>
                <a:satOff val="0"/>
                <a:lumOff val="0"/>
                <a:alphaOff val="0"/>
              </a:schemeClr>
            </a:effectRef>
            <a:fontRef idx="minor">
              <a:schemeClr val="dk1">
                <a:hueOff val="0"/>
                <a:satOff val="0"/>
                <a:lumOff val="0"/>
                <a:alphaOff val="0"/>
              </a:schemeClr>
            </a:fontRef>
          </p:style>
        </p:sp>
        <p:sp>
          <p:nvSpPr>
            <p:cNvPr id="13" name="Rectangle 12" descr="Programmer male">
              <a:extLst>
                <a:ext uri="{FF2B5EF4-FFF2-40B4-BE49-F238E27FC236}">
                  <a16:creationId xmlns:a16="http://schemas.microsoft.com/office/drawing/2014/main" id="{1B924C8F-9484-4ABA-B0B2-4C9CBC365D07}"/>
                </a:ext>
              </a:extLst>
            </p:cNvPr>
            <p:cNvSpPr/>
            <p:nvPr/>
          </p:nvSpPr>
          <p:spPr>
            <a:xfrm>
              <a:off x="1039307" y="2442234"/>
              <a:ext cx="252466" cy="252466"/>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style>
            <a:lnRef idx="0">
              <a:schemeClr val="lt2">
                <a:hueOff val="0"/>
                <a:satOff val="0"/>
                <a:lumOff val="0"/>
                <a:alphaOff val="0"/>
              </a:schemeClr>
            </a:lnRef>
            <a:fillRef idx="3">
              <a:scrgbClr r="0" g="0" b="0"/>
            </a:fillRef>
            <a:effectRef idx="3">
              <a:schemeClr val="dk2">
                <a:hueOff val="0"/>
                <a:satOff val="0"/>
                <a:lumOff val="0"/>
                <a:alphaOff val="0"/>
              </a:schemeClr>
            </a:effectRef>
            <a:fontRef idx="minor">
              <a:schemeClr val="lt1"/>
            </a:fontRef>
          </p:style>
        </p:sp>
        <p:sp>
          <p:nvSpPr>
            <p:cNvPr id="14" name="Freeform: Shape 13">
              <a:extLst>
                <a:ext uri="{FF2B5EF4-FFF2-40B4-BE49-F238E27FC236}">
                  <a16:creationId xmlns:a16="http://schemas.microsoft.com/office/drawing/2014/main" id="{DD0C4244-C0C5-4FD4-B37B-778131725073}"/>
                </a:ext>
              </a:extLst>
            </p:cNvPr>
            <p:cNvSpPr/>
            <p:nvPr/>
          </p:nvSpPr>
          <p:spPr>
            <a:xfrm>
              <a:off x="1430630" y="2338953"/>
              <a:ext cx="3612149" cy="459030"/>
            </a:xfrm>
            <a:custGeom>
              <a:avLst/>
              <a:gdLst>
                <a:gd name="connsiteX0" fmla="*/ 0 w 3612149"/>
                <a:gd name="connsiteY0" fmla="*/ 0 h 459030"/>
                <a:gd name="connsiteX1" fmla="*/ 3612149 w 3612149"/>
                <a:gd name="connsiteY1" fmla="*/ 0 h 459030"/>
                <a:gd name="connsiteX2" fmla="*/ 3612149 w 3612149"/>
                <a:gd name="connsiteY2" fmla="*/ 459030 h 459030"/>
                <a:gd name="connsiteX3" fmla="*/ 0 w 3612149"/>
                <a:gd name="connsiteY3" fmla="*/ 459030 h 459030"/>
                <a:gd name="connsiteX4" fmla="*/ 0 w 3612149"/>
                <a:gd name="connsiteY4" fmla="*/ 0 h 459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2149" h="459030">
                  <a:moveTo>
                    <a:pt x="0" y="0"/>
                  </a:moveTo>
                  <a:lnTo>
                    <a:pt x="3612149" y="0"/>
                  </a:lnTo>
                  <a:lnTo>
                    <a:pt x="3612149" y="459030"/>
                  </a:lnTo>
                  <a:lnTo>
                    <a:pt x="0" y="459030"/>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48581" tIns="48581" rIns="48581" bIns="48581" numCol="1" spcCol="1270" anchor="ctr" anchorCtr="0">
              <a:noAutofit/>
            </a:bodyPr>
            <a:lstStyle/>
            <a:p>
              <a:pPr marL="0" lvl="0" indent="0" algn="l" defTabSz="711200">
                <a:lnSpc>
                  <a:spcPct val="100000"/>
                </a:lnSpc>
                <a:spcBef>
                  <a:spcPct val="0"/>
                </a:spcBef>
                <a:spcAft>
                  <a:spcPct val="35000"/>
                </a:spcAft>
                <a:buNone/>
              </a:pPr>
              <a:endParaRPr lang="en-US" sz="1600" kern="1200"/>
            </a:p>
          </p:txBody>
        </p:sp>
        <p:sp>
          <p:nvSpPr>
            <p:cNvPr id="16" name="Rectangle: Rounded Corners 15">
              <a:extLst>
                <a:ext uri="{FF2B5EF4-FFF2-40B4-BE49-F238E27FC236}">
                  <a16:creationId xmlns:a16="http://schemas.microsoft.com/office/drawing/2014/main" id="{369BA8D2-799E-4421-A23D-0C4043915DB3}"/>
                </a:ext>
              </a:extLst>
            </p:cNvPr>
            <p:cNvSpPr/>
            <p:nvPr/>
          </p:nvSpPr>
          <p:spPr>
            <a:xfrm>
              <a:off x="900451" y="2912740"/>
              <a:ext cx="4142329" cy="459030"/>
            </a:xfrm>
            <a:prstGeom prst="roundRect">
              <a:avLst>
                <a:gd name="adj" fmla="val 10000"/>
              </a:avLst>
            </a:prstGeom>
          </p:spPr>
          <p:style>
            <a:lnRef idx="0">
              <a:schemeClr val="dk2">
                <a:hueOff val="0"/>
                <a:satOff val="0"/>
                <a:lumOff val="0"/>
                <a:alphaOff val="0"/>
              </a:schemeClr>
            </a:lnRef>
            <a:fillRef idx="1">
              <a:schemeClr val="dk2">
                <a:tint val="40000"/>
                <a:hueOff val="0"/>
                <a:satOff val="0"/>
                <a:lumOff val="0"/>
                <a:alphaOff val="0"/>
              </a:schemeClr>
            </a:fillRef>
            <a:effectRef idx="2">
              <a:schemeClr val="dk2">
                <a:tint val="40000"/>
                <a:hueOff val="0"/>
                <a:satOff val="0"/>
                <a:lumOff val="0"/>
                <a:alphaOff val="0"/>
              </a:schemeClr>
            </a:effectRef>
            <a:fontRef idx="minor">
              <a:schemeClr val="dk1">
                <a:hueOff val="0"/>
                <a:satOff val="0"/>
                <a:lumOff val="0"/>
                <a:alphaOff val="0"/>
              </a:schemeClr>
            </a:fontRef>
          </p:style>
        </p:sp>
        <p:sp>
          <p:nvSpPr>
            <p:cNvPr id="17" name="Rectangle 16" descr="Database">
              <a:extLst>
                <a:ext uri="{FF2B5EF4-FFF2-40B4-BE49-F238E27FC236}">
                  <a16:creationId xmlns:a16="http://schemas.microsoft.com/office/drawing/2014/main" id="{19790E7B-E5B0-4424-8089-137746506B17}"/>
                </a:ext>
              </a:extLst>
            </p:cNvPr>
            <p:cNvSpPr/>
            <p:nvPr/>
          </p:nvSpPr>
          <p:spPr>
            <a:xfrm>
              <a:off x="1039307" y="3016022"/>
              <a:ext cx="252466" cy="252466"/>
            </a:xfrm>
            <a:prstGeom prst="rect">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a:blipFill>
          </p:spPr>
          <p:style>
            <a:lnRef idx="0">
              <a:schemeClr val="lt2">
                <a:hueOff val="0"/>
                <a:satOff val="0"/>
                <a:lumOff val="0"/>
                <a:alphaOff val="0"/>
              </a:schemeClr>
            </a:lnRef>
            <a:fillRef idx="3">
              <a:scrgbClr r="0" g="0" b="0"/>
            </a:fillRef>
            <a:effectRef idx="3">
              <a:schemeClr val="dk2">
                <a:hueOff val="0"/>
                <a:satOff val="0"/>
                <a:lumOff val="0"/>
                <a:alphaOff val="0"/>
              </a:schemeClr>
            </a:effectRef>
            <a:fontRef idx="minor">
              <a:schemeClr val="lt1"/>
            </a:fontRef>
          </p:style>
        </p:sp>
        <p:sp>
          <p:nvSpPr>
            <p:cNvPr id="18" name="Freeform: Shape 17">
              <a:extLst>
                <a:ext uri="{FF2B5EF4-FFF2-40B4-BE49-F238E27FC236}">
                  <a16:creationId xmlns:a16="http://schemas.microsoft.com/office/drawing/2014/main" id="{C80E061D-5FBA-4922-AE1B-CA325FF6978B}"/>
                </a:ext>
              </a:extLst>
            </p:cNvPr>
            <p:cNvSpPr/>
            <p:nvPr/>
          </p:nvSpPr>
          <p:spPr>
            <a:xfrm>
              <a:off x="1430630" y="2912740"/>
              <a:ext cx="3612149" cy="459030"/>
            </a:xfrm>
            <a:custGeom>
              <a:avLst/>
              <a:gdLst>
                <a:gd name="connsiteX0" fmla="*/ 0 w 3612149"/>
                <a:gd name="connsiteY0" fmla="*/ 0 h 459030"/>
                <a:gd name="connsiteX1" fmla="*/ 3612149 w 3612149"/>
                <a:gd name="connsiteY1" fmla="*/ 0 h 459030"/>
                <a:gd name="connsiteX2" fmla="*/ 3612149 w 3612149"/>
                <a:gd name="connsiteY2" fmla="*/ 459030 h 459030"/>
                <a:gd name="connsiteX3" fmla="*/ 0 w 3612149"/>
                <a:gd name="connsiteY3" fmla="*/ 459030 h 459030"/>
                <a:gd name="connsiteX4" fmla="*/ 0 w 3612149"/>
                <a:gd name="connsiteY4" fmla="*/ 0 h 459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2149" h="459030">
                  <a:moveTo>
                    <a:pt x="0" y="0"/>
                  </a:moveTo>
                  <a:lnTo>
                    <a:pt x="3612149" y="0"/>
                  </a:lnTo>
                  <a:lnTo>
                    <a:pt x="3612149" y="459030"/>
                  </a:lnTo>
                  <a:lnTo>
                    <a:pt x="0" y="459030"/>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48581" tIns="48581" rIns="48581" bIns="48581" numCol="1" spcCol="1270" anchor="ctr" anchorCtr="0">
              <a:noAutofit/>
            </a:bodyPr>
            <a:lstStyle/>
            <a:p>
              <a:pPr marL="0" lvl="0" indent="0" algn="l" defTabSz="711200">
                <a:lnSpc>
                  <a:spcPct val="100000"/>
                </a:lnSpc>
                <a:spcBef>
                  <a:spcPct val="0"/>
                </a:spcBef>
                <a:spcAft>
                  <a:spcPct val="35000"/>
                </a:spcAft>
                <a:buNone/>
              </a:pPr>
              <a:endParaRPr lang="en-US" sz="1600" kern="1200"/>
            </a:p>
          </p:txBody>
        </p:sp>
        <p:sp>
          <p:nvSpPr>
            <p:cNvPr id="19" name="Rectangle: Rounded Corners 18">
              <a:extLst>
                <a:ext uri="{FF2B5EF4-FFF2-40B4-BE49-F238E27FC236}">
                  <a16:creationId xmlns:a16="http://schemas.microsoft.com/office/drawing/2014/main" id="{76D4572B-E512-4A04-963B-2B203DD468CF}"/>
                </a:ext>
              </a:extLst>
            </p:cNvPr>
            <p:cNvSpPr/>
            <p:nvPr/>
          </p:nvSpPr>
          <p:spPr>
            <a:xfrm>
              <a:off x="900451" y="3486528"/>
              <a:ext cx="4142329" cy="459030"/>
            </a:xfrm>
            <a:prstGeom prst="roundRect">
              <a:avLst>
                <a:gd name="adj" fmla="val 10000"/>
              </a:avLst>
            </a:prstGeom>
          </p:spPr>
          <p:style>
            <a:lnRef idx="0">
              <a:schemeClr val="dk2">
                <a:hueOff val="0"/>
                <a:satOff val="0"/>
                <a:lumOff val="0"/>
                <a:alphaOff val="0"/>
              </a:schemeClr>
            </a:lnRef>
            <a:fillRef idx="1">
              <a:schemeClr val="dk2">
                <a:tint val="40000"/>
                <a:hueOff val="0"/>
                <a:satOff val="0"/>
                <a:lumOff val="0"/>
                <a:alphaOff val="0"/>
              </a:schemeClr>
            </a:fillRef>
            <a:effectRef idx="2">
              <a:schemeClr val="dk2">
                <a:tint val="40000"/>
                <a:hueOff val="0"/>
                <a:satOff val="0"/>
                <a:lumOff val="0"/>
                <a:alphaOff val="0"/>
              </a:schemeClr>
            </a:effectRef>
            <a:fontRef idx="minor">
              <a:schemeClr val="dk1">
                <a:hueOff val="0"/>
                <a:satOff val="0"/>
                <a:lumOff val="0"/>
                <a:alphaOff val="0"/>
              </a:schemeClr>
            </a:fontRef>
          </p:style>
        </p:sp>
        <p:sp>
          <p:nvSpPr>
            <p:cNvPr id="20" name="Rectangle 19" descr="Ethernet">
              <a:extLst>
                <a:ext uri="{FF2B5EF4-FFF2-40B4-BE49-F238E27FC236}">
                  <a16:creationId xmlns:a16="http://schemas.microsoft.com/office/drawing/2014/main" id="{44923783-591B-442A-9BF0-69116D02A3EC}"/>
                </a:ext>
              </a:extLst>
            </p:cNvPr>
            <p:cNvSpPr/>
            <p:nvPr/>
          </p:nvSpPr>
          <p:spPr>
            <a:xfrm>
              <a:off x="1039307" y="3589810"/>
              <a:ext cx="252466" cy="252466"/>
            </a:xfrm>
            <a:prstGeom prst="rect">
              <a:avLst/>
            </a:prstGeom>
            <a: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a:blipFill>
          </p:spPr>
          <p:style>
            <a:lnRef idx="0">
              <a:schemeClr val="lt2">
                <a:hueOff val="0"/>
                <a:satOff val="0"/>
                <a:lumOff val="0"/>
                <a:alphaOff val="0"/>
              </a:schemeClr>
            </a:lnRef>
            <a:fillRef idx="3">
              <a:scrgbClr r="0" g="0" b="0"/>
            </a:fillRef>
            <a:effectRef idx="3">
              <a:schemeClr val="dk2">
                <a:hueOff val="0"/>
                <a:satOff val="0"/>
                <a:lumOff val="0"/>
                <a:alphaOff val="0"/>
              </a:schemeClr>
            </a:effectRef>
            <a:fontRef idx="minor">
              <a:schemeClr val="lt1"/>
            </a:fontRef>
          </p:style>
        </p:sp>
        <p:sp>
          <p:nvSpPr>
            <p:cNvPr id="21" name="Freeform: Shape 20">
              <a:extLst>
                <a:ext uri="{FF2B5EF4-FFF2-40B4-BE49-F238E27FC236}">
                  <a16:creationId xmlns:a16="http://schemas.microsoft.com/office/drawing/2014/main" id="{9727F73E-819C-40B4-BCA5-5A0CAD726D31}"/>
                </a:ext>
              </a:extLst>
            </p:cNvPr>
            <p:cNvSpPr/>
            <p:nvPr/>
          </p:nvSpPr>
          <p:spPr>
            <a:xfrm>
              <a:off x="1430630" y="3486528"/>
              <a:ext cx="3612149" cy="459030"/>
            </a:xfrm>
            <a:custGeom>
              <a:avLst/>
              <a:gdLst>
                <a:gd name="connsiteX0" fmla="*/ 0 w 3612149"/>
                <a:gd name="connsiteY0" fmla="*/ 0 h 459030"/>
                <a:gd name="connsiteX1" fmla="*/ 3612149 w 3612149"/>
                <a:gd name="connsiteY1" fmla="*/ 0 h 459030"/>
                <a:gd name="connsiteX2" fmla="*/ 3612149 w 3612149"/>
                <a:gd name="connsiteY2" fmla="*/ 459030 h 459030"/>
                <a:gd name="connsiteX3" fmla="*/ 0 w 3612149"/>
                <a:gd name="connsiteY3" fmla="*/ 459030 h 459030"/>
                <a:gd name="connsiteX4" fmla="*/ 0 w 3612149"/>
                <a:gd name="connsiteY4" fmla="*/ 0 h 459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2149" h="459030">
                  <a:moveTo>
                    <a:pt x="0" y="0"/>
                  </a:moveTo>
                  <a:lnTo>
                    <a:pt x="3612149" y="0"/>
                  </a:lnTo>
                  <a:lnTo>
                    <a:pt x="3612149" y="459030"/>
                  </a:lnTo>
                  <a:lnTo>
                    <a:pt x="0" y="459030"/>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48581" tIns="48581" rIns="48581" bIns="48581" numCol="1" spcCol="1270" anchor="ctr" anchorCtr="0">
              <a:noAutofit/>
            </a:bodyPr>
            <a:lstStyle/>
            <a:p>
              <a:pPr marL="0" lvl="0" indent="0" algn="l" defTabSz="711200">
                <a:lnSpc>
                  <a:spcPct val="100000"/>
                </a:lnSpc>
                <a:spcBef>
                  <a:spcPct val="0"/>
                </a:spcBef>
                <a:spcAft>
                  <a:spcPct val="35000"/>
                </a:spcAft>
                <a:buNone/>
              </a:pPr>
              <a:endParaRPr lang="en-US" sz="1600" kern="1200"/>
            </a:p>
          </p:txBody>
        </p:sp>
        <p:sp>
          <p:nvSpPr>
            <p:cNvPr id="22" name="Rectangle: Rounded Corners 21">
              <a:extLst>
                <a:ext uri="{FF2B5EF4-FFF2-40B4-BE49-F238E27FC236}">
                  <a16:creationId xmlns:a16="http://schemas.microsoft.com/office/drawing/2014/main" id="{5A6A3EBD-492C-49CD-B5ED-B5BF44FBAD03}"/>
                </a:ext>
              </a:extLst>
            </p:cNvPr>
            <p:cNvSpPr/>
            <p:nvPr/>
          </p:nvSpPr>
          <p:spPr>
            <a:xfrm>
              <a:off x="900451" y="4083910"/>
              <a:ext cx="4142329" cy="459030"/>
            </a:xfrm>
            <a:prstGeom prst="roundRect">
              <a:avLst>
                <a:gd name="adj" fmla="val 10000"/>
              </a:avLst>
            </a:prstGeom>
          </p:spPr>
          <p:style>
            <a:lnRef idx="0">
              <a:schemeClr val="dk2">
                <a:hueOff val="0"/>
                <a:satOff val="0"/>
                <a:lumOff val="0"/>
                <a:alphaOff val="0"/>
              </a:schemeClr>
            </a:lnRef>
            <a:fillRef idx="1">
              <a:schemeClr val="dk2">
                <a:tint val="40000"/>
                <a:hueOff val="0"/>
                <a:satOff val="0"/>
                <a:lumOff val="0"/>
                <a:alphaOff val="0"/>
              </a:schemeClr>
            </a:fillRef>
            <a:effectRef idx="2">
              <a:schemeClr val="dk2">
                <a:tint val="40000"/>
                <a:hueOff val="0"/>
                <a:satOff val="0"/>
                <a:lumOff val="0"/>
                <a:alphaOff val="0"/>
              </a:schemeClr>
            </a:effectRef>
            <a:fontRef idx="minor">
              <a:schemeClr val="dk1">
                <a:hueOff val="0"/>
                <a:satOff val="0"/>
                <a:lumOff val="0"/>
                <a:alphaOff val="0"/>
              </a:schemeClr>
            </a:fontRef>
          </p:style>
        </p:sp>
        <p:sp>
          <p:nvSpPr>
            <p:cNvPr id="23" name="Rectangle 22" descr="Server">
              <a:extLst>
                <a:ext uri="{FF2B5EF4-FFF2-40B4-BE49-F238E27FC236}">
                  <a16:creationId xmlns:a16="http://schemas.microsoft.com/office/drawing/2014/main" id="{53242D14-326E-49CD-854E-06DDDE94E4B8}"/>
                </a:ext>
              </a:extLst>
            </p:cNvPr>
            <p:cNvSpPr/>
            <p:nvPr/>
          </p:nvSpPr>
          <p:spPr>
            <a:xfrm>
              <a:off x="1039307" y="4163598"/>
              <a:ext cx="252466" cy="252466"/>
            </a:xfrm>
            <a:prstGeom prst="rect">
              <a:avLst/>
            </a:prstGeom>
            <a: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a:fillRect/>
              </a:stretch>
            </a:blipFill>
          </p:spPr>
          <p:style>
            <a:lnRef idx="0">
              <a:schemeClr val="lt2">
                <a:hueOff val="0"/>
                <a:satOff val="0"/>
                <a:lumOff val="0"/>
                <a:alphaOff val="0"/>
              </a:schemeClr>
            </a:lnRef>
            <a:fillRef idx="3">
              <a:scrgbClr r="0" g="0" b="0"/>
            </a:fillRef>
            <a:effectRef idx="3">
              <a:schemeClr val="dk2">
                <a:hueOff val="0"/>
                <a:satOff val="0"/>
                <a:lumOff val="0"/>
                <a:alphaOff val="0"/>
              </a:schemeClr>
            </a:effectRef>
            <a:fontRef idx="minor">
              <a:schemeClr val="lt1"/>
            </a:fontRef>
          </p:style>
        </p:sp>
        <p:sp>
          <p:nvSpPr>
            <p:cNvPr id="24" name="Freeform: Shape 23">
              <a:extLst>
                <a:ext uri="{FF2B5EF4-FFF2-40B4-BE49-F238E27FC236}">
                  <a16:creationId xmlns:a16="http://schemas.microsoft.com/office/drawing/2014/main" id="{6D7EBFC9-106D-400A-BC4D-22444B387601}"/>
                </a:ext>
              </a:extLst>
            </p:cNvPr>
            <p:cNvSpPr/>
            <p:nvPr/>
          </p:nvSpPr>
          <p:spPr>
            <a:xfrm>
              <a:off x="1430630" y="4060316"/>
              <a:ext cx="3612149" cy="459030"/>
            </a:xfrm>
            <a:custGeom>
              <a:avLst/>
              <a:gdLst>
                <a:gd name="connsiteX0" fmla="*/ 0 w 3612149"/>
                <a:gd name="connsiteY0" fmla="*/ 0 h 459030"/>
                <a:gd name="connsiteX1" fmla="*/ 3612149 w 3612149"/>
                <a:gd name="connsiteY1" fmla="*/ 0 h 459030"/>
                <a:gd name="connsiteX2" fmla="*/ 3612149 w 3612149"/>
                <a:gd name="connsiteY2" fmla="*/ 459030 h 459030"/>
                <a:gd name="connsiteX3" fmla="*/ 0 w 3612149"/>
                <a:gd name="connsiteY3" fmla="*/ 459030 h 459030"/>
                <a:gd name="connsiteX4" fmla="*/ 0 w 3612149"/>
                <a:gd name="connsiteY4" fmla="*/ 0 h 459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2149" h="459030">
                  <a:moveTo>
                    <a:pt x="0" y="0"/>
                  </a:moveTo>
                  <a:lnTo>
                    <a:pt x="3612149" y="0"/>
                  </a:lnTo>
                  <a:lnTo>
                    <a:pt x="3612149" y="459030"/>
                  </a:lnTo>
                  <a:lnTo>
                    <a:pt x="0" y="459030"/>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48581" tIns="48581" rIns="48581" bIns="48581" numCol="1" spcCol="1270" anchor="ctr" anchorCtr="0">
              <a:noAutofit/>
            </a:bodyPr>
            <a:lstStyle/>
            <a:p>
              <a:pPr marL="0" lvl="0" indent="0" algn="l" defTabSz="711200">
                <a:lnSpc>
                  <a:spcPct val="100000"/>
                </a:lnSpc>
                <a:spcBef>
                  <a:spcPct val="0"/>
                </a:spcBef>
                <a:spcAft>
                  <a:spcPct val="35000"/>
                </a:spcAft>
                <a:buNone/>
              </a:pPr>
              <a:endParaRPr lang="en-US" sz="1600" kern="1200"/>
            </a:p>
          </p:txBody>
        </p:sp>
        <p:sp>
          <p:nvSpPr>
            <p:cNvPr id="27" name="Freeform: Shape 26">
              <a:extLst>
                <a:ext uri="{FF2B5EF4-FFF2-40B4-BE49-F238E27FC236}">
                  <a16:creationId xmlns:a16="http://schemas.microsoft.com/office/drawing/2014/main" id="{3FAEF719-60D6-429C-BD36-EE53DB0558DB}"/>
                </a:ext>
              </a:extLst>
            </p:cNvPr>
            <p:cNvSpPr/>
            <p:nvPr/>
          </p:nvSpPr>
          <p:spPr>
            <a:xfrm>
              <a:off x="1430630" y="4634104"/>
              <a:ext cx="3612149" cy="459030"/>
            </a:xfrm>
            <a:custGeom>
              <a:avLst/>
              <a:gdLst>
                <a:gd name="connsiteX0" fmla="*/ 0 w 3612149"/>
                <a:gd name="connsiteY0" fmla="*/ 0 h 459030"/>
                <a:gd name="connsiteX1" fmla="*/ 3612149 w 3612149"/>
                <a:gd name="connsiteY1" fmla="*/ 0 h 459030"/>
                <a:gd name="connsiteX2" fmla="*/ 3612149 w 3612149"/>
                <a:gd name="connsiteY2" fmla="*/ 459030 h 459030"/>
                <a:gd name="connsiteX3" fmla="*/ 0 w 3612149"/>
                <a:gd name="connsiteY3" fmla="*/ 459030 h 459030"/>
                <a:gd name="connsiteX4" fmla="*/ 0 w 3612149"/>
                <a:gd name="connsiteY4" fmla="*/ 0 h 459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2149" h="459030">
                  <a:moveTo>
                    <a:pt x="0" y="0"/>
                  </a:moveTo>
                  <a:lnTo>
                    <a:pt x="3612149" y="0"/>
                  </a:lnTo>
                  <a:lnTo>
                    <a:pt x="3612149" y="459030"/>
                  </a:lnTo>
                  <a:lnTo>
                    <a:pt x="0" y="459030"/>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48581" tIns="48581" rIns="48581" bIns="48581" numCol="1" spcCol="1270" anchor="ctr" anchorCtr="0">
              <a:noAutofit/>
            </a:bodyPr>
            <a:lstStyle/>
            <a:p>
              <a:pPr marL="0" lvl="0" indent="0" algn="l" defTabSz="711200">
                <a:lnSpc>
                  <a:spcPct val="100000"/>
                </a:lnSpc>
                <a:spcBef>
                  <a:spcPct val="0"/>
                </a:spcBef>
                <a:spcAft>
                  <a:spcPct val="35000"/>
                </a:spcAft>
                <a:buNone/>
              </a:pPr>
              <a:endParaRPr lang="en-US" sz="1600" kern="1200">
                <a:highlight>
                  <a:srgbClr val="FFFF00"/>
                </a:highlight>
              </a:endParaRPr>
            </a:p>
          </p:txBody>
        </p:sp>
        <p:sp>
          <p:nvSpPr>
            <p:cNvPr id="28" name="Rectangle: Rounded Corners 27">
              <a:extLst>
                <a:ext uri="{FF2B5EF4-FFF2-40B4-BE49-F238E27FC236}">
                  <a16:creationId xmlns:a16="http://schemas.microsoft.com/office/drawing/2014/main" id="{0C0917EC-0DD0-4203-A811-AD3DA4D1B93C}"/>
                </a:ext>
              </a:extLst>
            </p:cNvPr>
            <p:cNvSpPr/>
            <p:nvPr/>
          </p:nvSpPr>
          <p:spPr>
            <a:xfrm>
              <a:off x="900451" y="4659252"/>
              <a:ext cx="4142329" cy="459030"/>
            </a:xfrm>
            <a:prstGeom prst="roundRect">
              <a:avLst>
                <a:gd name="adj" fmla="val 10000"/>
              </a:avLst>
            </a:prstGeom>
          </p:spPr>
          <p:style>
            <a:lnRef idx="0">
              <a:schemeClr val="dk2">
                <a:hueOff val="0"/>
                <a:satOff val="0"/>
                <a:lumOff val="0"/>
                <a:alphaOff val="0"/>
              </a:schemeClr>
            </a:lnRef>
            <a:fillRef idx="1">
              <a:schemeClr val="dk2">
                <a:tint val="40000"/>
                <a:hueOff val="0"/>
                <a:satOff val="0"/>
                <a:lumOff val="0"/>
                <a:alphaOff val="0"/>
              </a:schemeClr>
            </a:fillRef>
            <a:effectRef idx="2">
              <a:schemeClr val="dk2">
                <a:tint val="40000"/>
                <a:hueOff val="0"/>
                <a:satOff val="0"/>
                <a:lumOff val="0"/>
                <a:alphaOff val="0"/>
              </a:schemeClr>
            </a:effectRef>
            <a:fontRef idx="minor">
              <a:schemeClr val="dk1">
                <a:hueOff val="0"/>
                <a:satOff val="0"/>
                <a:lumOff val="0"/>
                <a:alphaOff val="0"/>
              </a:schemeClr>
            </a:fontRef>
          </p:style>
        </p:sp>
        <p:sp>
          <p:nvSpPr>
            <p:cNvPr id="29" name="Rectangle 28" descr="Syncing cloud">
              <a:extLst>
                <a:ext uri="{FF2B5EF4-FFF2-40B4-BE49-F238E27FC236}">
                  <a16:creationId xmlns:a16="http://schemas.microsoft.com/office/drawing/2014/main" id="{827BBA9C-C675-4890-B348-DE583C892BCC}"/>
                </a:ext>
              </a:extLst>
            </p:cNvPr>
            <p:cNvSpPr/>
            <p:nvPr/>
          </p:nvSpPr>
          <p:spPr>
            <a:xfrm>
              <a:off x="1063937" y="4774971"/>
              <a:ext cx="203207" cy="203207"/>
            </a:xfrm>
            <a:prstGeom prst="rect">
              <a:avLst/>
            </a:prstGeom>
            <a: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a:fillRect/>
              </a:stretch>
            </a:blipFill>
          </p:spPr>
          <p:style>
            <a:lnRef idx="0">
              <a:schemeClr val="lt2">
                <a:hueOff val="0"/>
                <a:satOff val="0"/>
                <a:lumOff val="0"/>
                <a:alphaOff val="0"/>
              </a:schemeClr>
            </a:lnRef>
            <a:fillRef idx="3">
              <a:scrgbClr r="0" g="0" b="0"/>
            </a:fillRef>
            <a:effectRef idx="3">
              <a:schemeClr val="dk2">
                <a:hueOff val="0"/>
                <a:satOff val="0"/>
                <a:lumOff val="0"/>
                <a:alphaOff val="0"/>
              </a:schemeClr>
            </a:effectRef>
            <a:fontRef idx="minor">
              <a:schemeClr val="lt1"/>
            </a:fontRef>
          </p:style>
        </p:sp>
        <p:sp>
          <p:nvSpPr>
            <p:cNvPr id="30" name="Freeform: Shape 29">
              <a:extLst>
                <a:ext uri="{FF2B5EF4-FFF2-40B4-BE49-F238E27FC236}">
                  <a16:creationId xmlns:a16="http://schemas.microsoft.com/office/drawing/2014/main" id="{24C6BAD3-952B-47CA-96B8-02EEB7538422}"/>
                </a:ext>
              </a:extLst>
            </p:cNvPr>
            <p:cNvSpPr/>
            <p:nvPr/>
          </p:nvSpPr>
          <p:spPr>
            <a:xfrm>
              <a:off x="1430630" y="4647060"/>
              <a:ext cx="3612149" cy="459030"/>
            </a:xfrm>
            <a:custGeom>
              <a:avLst/>
              <a:gdLst>
                <a:gd name="connsiteX0" fmla="*/ 0 w 3612149"/>
                <a:gd name="connsiteY0" fmla="*/ 0 h 459030"/>
                <a:gd name="connsiteX1" fmla="*/ 3612149 w 3612149"/>
                <a:gd name="connsiteY1" fmla="*/ 0 h 459030"/>
                <a:gd name="connsiteX2" fmla="*/ 3612149 w 3612149"/>
                <a:gd name="connsiteY2" fmla="*/ 459030 h 459030"/>
                <a:gd name="connsiteX3" fmla="*/ 0 w 3612149"/>
                <a:gd name="connsiteY3" fmla="*/ 459030 h 459030"/>
                <a:gd name="connsiteX4" fmla="*/ 0 w 3612149"/>
                <a:gd name="connsiteY4" fmla="*/ 0 h 459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2149" h="459030">
                  <a:moveTo>
                    <a:pt x="0" y="0"/>
                  </a:moveTo>
                  <a:lnTo>
                    <a:pt x="3612149" y="0"/>
                  </a:lnTo>
                  <a:lnTo>
                    <a:pt x="3612149" y="459030"/>
                  </a:lnTo>
                  <a:lnTo>
                    <a:pt x="0" y="459030"/>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48581" tIns="48581" rIns="48581" bIns="48581" numCol="1" spcCol="1270" anchor="ctr" anchorCtr="0">
              <a:noAutofit/>
            </a:bodyPr>
            <a:lstStyle/>
            <a:p>
              <a:pPr marL="0" lvl="0" indent="0" algn="l" defTabSz="711200">
                <a:lnSpc>
                  <a:spcPct val="100000"/>
                </a:lnSpc>
                <a:spcBef>
                  <a:spcPct val="0"/>
                </a:spcBef>
                <a:spcAft>
                  <a:spcPct val="35000"/>
                </a:spcAft>
                <a:buNone/>
              </a:pPr>
              <a:endParaRPr lang="en-US" sz="1600" kern="1200"/>
            </a:p>
          </p:txBody>
        </p:sp>
      </p:grpSp>
    </p:spTree>
    <p:custDataLst>
      <p:tags r:id="rId1"/>
    </p:custDataLst>
    <p:extLst>
      <p:ext uri="{BB962C8B-B14F-4D97-AF65-F5344CB8AC3E}">
        <p14:creationId xmlns:p14="http://schemas.microsoft.com/office/powerpoint/2010/main" val="1764949012"/>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8">
            <a:extLst>
              <a:ext uri="{FF2B5EF4-FFF2-40B4-BE49-F238E27FC236}">
                <a16:creationId xmlns:a16="http://schemas.microsoft.com/office/drawing/2014/main" id="{86BCFEE8-D6AB-4E1E-8FB0-4E11C74A10B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7622" y="0"/>
            <a:ext cx="6094311" cy="6856100"/>
          </a:xfrm>
          <a:prstGeom prst="rect">
            <a:avLst/>
          </a:prstGeom>
        </p:spPr>
      </p:pic>
      <p:sp>
        <p:nvSpPr>
          <p:cNvPr id="19" name="Rectangle 18">
            <a:extLst>
              <a:ext uri="{FF2B5EF4-FFF2-40B4-BE49-F238E27FC236}">
                <a16:creationId xmlns:a16="http://schemas.microsoft.com/office/drawing/2014/main" id="{7D5A483B-69EC-4BD8-82BB-BFDB54BDEB4E}"/>
              </a:ext>
              <a:ext uri="{C183D7F6-B498-43B3-948B-1728B52AA6E4}">
                <adec:decorative xmlns:adec="http://schemas.microsoft.com/office/drawing/2017/decorative" val="1"/>
              </a:ext>
            </a:extLst>
          </p:cNvPr>
          <p:cNvSpPr/>
          <p:nvPr/>
        </p:nvSpPr>
        <p:spPr>
          <a:xfrm>
            <a:off x="4355432" y="0"/>
            <a:ext cx="7836568" cy="6858000"/>
          </a:xfrm>
          <a:prstGeom prst="rect">
            <a:avLst/>
          </a:prstGeom>
          <a:gradFill>
            <a:gsLst>
              <a:gs pos="9000">
                <a:srgbClr val="FFFFFF">
                  <a:alpha val="65000"/>
                </a:srgbClr>
              </a:gs>
              <a:gs pos="0">
                <a:srgbClr val="FFFFFF">
                  <a:alpha val="0"/>
                </a:srgbClr>
              </a:gs>
              <a:gs pos="77000">
                <a:srgbClr val="FFFFFF"/>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i="0" u="none" strike="noStrike" kern="1200" cap="none" spc="0" normalizeH="0" baseline="0" noProof="0">
              <a:ln>
                <a:noFill/>
              </a:ln>
              <a:solidFill>
                <a:prstClr val="white"/>
              </a:solidFill>
              <a:effectLst/>
              <a:uLnTx/>
              <a:uFillTx/>
              <a:latin typeface="Segoe UI Semilight" panose="020B0402040204020203" pitchFamily="34" charset="0"/>
              <a:cs typeface="Segoe UI Semilight" panose="020B0402040204020203" pitchFamily="34" charset="0"/>
            </a:endParaRPr>
          </a:p>
        </p:txBody>
      </p:sp>
      <p:sp>
        <p:nvSpPr>
          <p:cNvPr id="3" name="Title 2">
            <a:extLst>
              <a:ext uri="{FF2B5EF4-FFF2-40B4-BE49-F238E27FC236}">
                <a16:creationId xmlns:a16="http://schemas.microsoft.com/office/drawing/2014/main" id="{5343EEF5-76C0-4DF9-B9FB-2B382AF47ED7}"/>
              </a:ext>
            </a:extLst>
          </p:cNvPr>
          <p:cNvSpPr>
            <a:spLocks noGrp="1"/>
          </p:cNvSpPr>
          <p:nvPr>
            <p:ph type="title"/>
          </p:nvPr>
        </p:nvSpPr>
        <p:spPr>
          <a:xfrm>
            <a:off x="-477836" y="4108175"/>
            <a:ext cx="5486399" cy="1788284"/>
          </a:xfrm>
        </p:spPr>
        <p:txBody>
          <a:bodyPr lIns="0" tIns="0" rIns="0" bIns="0" anchor="ctr"/>
          <a:lstStyle/>
          <a:p>
            <a:pPr algn="ctr"/>
            <a:r>
              <a:rPr lang="en-US"/>
              <a:t>Troubleshooting </a:t>
            </a:r>
            <a:br>
              <a:rPr lang="en-US"/>
            </a:br>
            <a:r>
              <a:rPr lang="en-US"/>
              <a:t>Compute </a:t>
            </a:r>
          </a:p>
        </p:txBody>
      </p:sp>
      <p:sp>
        <p:nvSpPr>
          <p:cNvPr id="5" name="Text Placeholder 4">
            <a:extLst>
              <a:ext uri="{FF2B5EF4-FFF2-40B4-BE49-F238E27FC236}">
                <a16:creationId xmlns:a16="http://schemas.microsoft.com/office/drawing/2014/main" id="{CEC6804B-04CB-4CB7-A604-889B435D52B7}"/>
              </a:ext>
            </a:extLst>
          </p:cNvPr>
          <p:cNvSpPr>
            <a:spLocks noGrp="1"/>
          </p:cNvSpPr>
          <p:nvPr>
            <p:ph type="body" sz="quarter" idx="10"/>
          </p:nvPr>
        </p:nvSpPr>
        <p:spPr/>
        <p:txBody>
          <a:bodyPr/>
          <a:lstStyle/>
          <a:p>
            <a:pPr marL="0" lvl="0" indent="0">
              <a:buNone/>
            </a:pPr>
            <a:r>
              <a:rPr lang="en-US"/>
              <a:t>The Goal of this module is to help you understand the options available to backup your Azure Stack HCI hosted Workloads.</a:t>
            </a:r>
          </a:p>
          <a:p>
            <a:pPr marL="0" lvl="0" indent="0">
              <a:buNone/>
            </a:pPr>
            <a:r>
              <a:rPr lang="en-US"/>
              <a:t>Learn about:</a:t>
            </a:r>
          </a:p>
          <a:p>
            <a:r>
              <a:rPr lang="en-US"/>
              <a:t>Performance Counters</a:t>
            </a:r>
          </a:p>
          <a:p>
            <a:r>
              <a:rPr lang="en-US"/>
              <a:t>Hyper-V Logs</a:t>
            </a:r>
          </a:p>
          <a:p>
            <a:pPr marL="0" lvl="0" indent="0">
              <a:buNone/>
            </a:pPr>
            <a:endParaRPr lang="en-US"/>
          </a:p>
        </p:txBody>
      </p:sp>
      <p:pic>
        <p:nvPicPr>
          <p:cNvPr id="7" name="Picture 6">
            <a:extLst>
              <a:ext uri="{FF2B5EF4-FFF2-40B4-BE49-F238E27FC236}">
                <a16:creationId xmlns:a16="http://schemas.microsoft.com/office/drawing/2014/main" id="{DF6CAF8E-4720-4274-961E-D5F45B2E6E81}"/>
              </a:ext>
            </a:extLst>
          </p:cNvPr>
          <p:cNvPicPr>
            <a:picLocks noChangeAspect="1"/>
          </p:cNvPicPr>
          <p:nvPr/>
        </p:nvPicPr>
        <p:blipFill>
          <a:blip r:embed="rId5"/>
          <a:stretch>
            <a:fillRect/>
          </a:stretch>
        </p:blipFill>
        <p:spPr>
          <a:xfrm>
            <a:off x="1013437" y="239120"/>
            <a:ext cx="2686425" cy="3543795"/>
          </a:xfrm>
          <a:prstGeom prst="rect">
            <a:avLst/>
          </a:prstGeom>
        </p:spPr>
      </p:pic>
    </p:spTree>
    <p:custDataLst>
      <p:tags r:id="rId1"/>
    </p:custDataLst>
    <p:extLst>
      <p:ext uri="{BB962C8B-B14F-4D97-AF65-F5344CB8AC3E}">
        <p14:creationId xmlns:p14="http://schemas.microsoft.com/office/powerpoint/2010/main" val="378403573"/>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FBB15-D5CA-480B-A96B-9E7A5AA1D4FE}"/>
              </a:ext>
            </a:extLst>
          </p:cNvPr>
          <p:cNvSpPr>
            <a:spLocks noGrp="1"/>
          </p:cNvSpPr>
          <p:nvPr>
            <p:ph type="title"/>
          </p:nvPr>
        </p:nvSpPr>
        <p:spPr>
          <a:xfrm>
            <a:off x="-11829" y="-10375"/>
            <a:ext cx="10515600" cy="1128417"/>
          </a:xfrm>
        </p:spPr>
        <p:txBody>
          <a:bodyPr vert="horz" lIns="91440" tIns="45720" rIns="91440" bIns="45720" rtlCol="0" anchor="ctr">
            <a:normAutofit/>
          </a:bodyPr>
          <a:lstStyle/>
          <a:p>
            <a:r>
              <a:rPr lang="en-US" sz="3200" spc="-50">
                <a:ln w="3175">
                  <a:noFill/>
                </a:ln>
                <a:solidFill>
                  <a:schemeClr val="tx1"/>
                </a:solidFill>
                <a:latin typeface="Segoe"/>
                <a:ea typeface="Segoe UI Black" panose="020B0A02040204020203" pitchFamily="34" charset="0"/>
                <a:cs typeface="Segoe UI" pitchFamily="34" charset="0"/>
              </a:rPr>
              <a:t>Windows Admin Center</a:t>
            </a:r>
            <a:br>
              <a:rPr lang="en-US" sz="3200" spc="-50">
                <a:ln w="3175">
                  <a:noFill/>
                </a:ln>
                <a:solidFill>
                  <a:schemeClr val="tx1"/>
                </a:solidFill>
                <a:latin typeface="Segoe"/>
                <a:ea typeface="Segoe UI Black" panose="020B0A02040204020203" pitchFamily="34" charset="0"/>
                <a:cs typeface="Segoe UI" pitchFamily="34" charset="0"/>
              </a:rPr>
            </a:br>
            <a:r>
              <a:rPr lang="en-US" sz="3200" b="1" spc="-50">
                <a:ln w="3175">
                  <a:noFill/>
                </a:ln>
                <a:solidFill>
                  <a:schemeClr val="tx1"/>
                </a:solidFill>
                <a:latin typeface="Segoe"/>
                <a:ea typeface="Segoe UI Black" panose="020B0A02040204020203" pitchFamily="34" charset="0"/>
                <a:cs typeface="Segoe UI" pitchFamily="34" charset="0"/>
              </a:rPr>
              <a:t>Performance Monitor</a:t>
            </a:r>
          </a:p>
        </p:txBody>
      </p:sp>
      <p:pic>
        <p:nvPicPr>
          <p:cNvPr id="5" name="Picture 4">
            <a:extLst>
              <a:ext uri="{FF2B5EF4-FFF2-40B4-BE49-F238E27FC236}">
                <a16:creationId xmlns:a16="http://schemas.microsoft.com/office/drawing/2014/main" id="{0D33AD70-D682-4354-B94D-877F220C35F5}"/>
              </a:ext>
            </a:extLst>
          </p:cNvPr>
          <p:cNvPicPr>
            <a:picLocks noChangeAspect="1"/>
          </p:cNvPicPr>
          <p:nvPr/>
        </p:nvPicPr>
        <p:blipFill rotWithShape="1">
          <a:blip r:embed="rId2"/>
          <a:srcRect t="15755" r="-1" b="-1"/>
          <a:stretch/>
        </p:blipFill>
        <p:spPr>
          <a:xfrm>
            <a:off x="838200" y="1845426"/>
            <a:ext cx="10512547" cy="4450303"/>
          </a:xfrm>
          <a:prstGeom prst="rect">
            <a:avLst/>
          </a:prstGeom>
        </p:spPr>
      </p:pic>
      <p:cxnSp>
        <p:nvCxnSpPr>
          <p:cNvPr id="7" name="Straight Arrow Connector 6">
            <a:extLst>
              <a:ext uri="{FF2B5EF4-FFF2-40B4-BE49-F238E27FC236}">
                <a16:creationId xmlns:a16="http://schemas.microsoft.com/office/drawing/2014/main" id="{AE74BB51-1734-48AB-A672-2471E152E157}"/>
              </a:ext>
            </a:extLst>
          </p:cNvPr>
          <p:cNvCxnSpPr/>
          <p:nvPr/>
        </p:nvCxnSpPr>
        <p:spPr>
          <a:xfrm flipV="1">
            <a:off x="665191" y="5544015"/>
            <a:ext cx="475861" cy="19594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0CFFDB65-44FC-43DF-8B15-F19FA154F663}"/>
              </a:ext>
            </a:extLst>
          </p:cNvPr>
          <p:cNvCxnSpPr>
            <a:cxnSpLocks/>
          </p:cNvCxnSpPr>
          <p:nvPr/>
        </p:nvCxnSpPr>
        <p:spPr>
          <a:xfrm flipH="1">
            <a:off x="3791270" y="1303745"/>
            <a:ext cx="1071059" cy="108336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6F87E779-0A06-4F36-8EA1-4C59A7F0EC9D}"/>
              </a:ext>
            </a:extLst>
          </p:cNvPr>
          <p:cNvCxnSpPr>
            <a:cxnSpLocks/>
          </p:cNvCxnSpPr>
          <p:nvPr/>
        </p:nvCxnSpPr>
        <p:spPr>
          <a:xfrm flipH="1">
            <a:off x="5281429" y="1303745"/>
            <a:ext cx="1071059" cy="108336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7B57138-72B9-4D86-906A-04CF221A7D0F}"/>
              </a:ext>
            </a:extLst>
          </p:cNvPr>
          <p:cNvCxnSpPr>
            <a:cxnSpLocks/>
          </p:cNvCxnSpPr>
          <p:nvPr/>
        </p:nvCxnSpPr>
        <p:spPr>
          <a:xfrm flipH="1">
            <a:off x="6539158" y="1303745"/>
            <a:ext cx="1071059" cy="108336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6823E56E-1886-4C25-855E-F39153DA2932}"/>
              </a:ext>
            </a:extLst>
          </p:cNvPr>
          <p:cNvCxnSpPr>
            <a:cxnSpLocks/>
          </p:cNvCxnSpPr>
          <p:nvPr/>
        </p:nvCxnSpPr>
        <p:spPr>
          <a:xfrm flipH="1">
            <a:off x="7916078" y="1303745"/>
            <a:ext cx="1071059" cy="108336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3C849C8-94B0-4252-AE25-E6B3A17B8B05}"/>
              </a:ext>
            </a:extLst>
          </p:cNvPr>
          <p:cNvCxnSpPr>
            <a:cxnSpLocks/>
          </p:cNvCxnSpPr>
          <p:nvPr/>
        </p:nvCxnSpPr>
        <p:spPr>
          <a:xfrm flipH="1">
            <a:off x="9292998" y="1303745"/>
            <a:ext cx="1071059" cy="108336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0F5CAE3-7885-40FE-B2C5-3D2508389BB5}"/>
              </a:ext>
            </a:extLst>
          </p:cNvPr>
          <p:cNvSpPr txBox="1"/>
          <p:nvPr/>
        </p:nvSpPr>
        <p:spPr>
          <a:xfrm>
            <a:off x="4444477" y="703581"/>
            <a:ext cx="1062182" cy="600164"/>
          </a:xfrm>
          <a:prstGeom prst="rect">
            <a:avLst/>
          </a:prstGeom>
          <a:noFill/>
          <a:ln>
            <a:solidFill>
              <a:schemeClr val="tx1">
                <a:lumMod val="95000"/>
                <a:lumOff val="5000"/>
              </a:schemeClr>
            </a:solidFill>
          </a:ln>
        </p:spPr>
        <p:txBody>
          <a:bodyPr wrap="square" rtlCol="0">
            <a:spAutoFit/>
          </a:bodyPr>
          <a:lstStyle/>
          <a:p>
            <a:r>
              <a:rPr lang="pt-PT" sz="1100"/>
              <a:t>Select your Azure Stack HCI Nodes</a:t>
            </a:r>
          </a:p>
        </p:txBody>
      </p:sp>
      <p:sp>
        <p:nvSpPr>
          <p:cNvPr id="21" name="TextBox 20">
            <a:extLst>
              <a:ext uri="{FF2B5EF4-FFF2-40B4-BE49-F238E27FC236}">
                <a16:creationId xmlns:a16="http://schemas.microsoft.com/office/drawing/2014/main" id="{C3EC59F8-436B-47F6-940D-01DEBFADBD87}"/>
              </a:ext>
            </a:extLst>
          </p:cNvPr>
          <p:cNvSpPr txBox="1"/>
          <p:nvPr/>
        </p:nvSpPr>
        <p:spPr>
          <a:xfrm>
            <a:off x="5874725" y="872358"/>
            <a:ext cx="1062182" cy="430887"/>
          </a:xfrm>
          <a:prstGeom prst="rect">
            <a:avLst/>
          </a:prstGeom>
          <a:noFill/>
          <a:ln>
            <a:solidFill>
              <a:schemeClr val="tx1">
                <a:lumMod val="95000"/>
                <a:lumOff val="5000"/>
              </a:schemeClr>
            </a:solidFill>
          </a:ln>
        </p:spPr>
        <p:txBody>
          <a:bodyPr wrap="square" rtlCol="0">
            <a:spAutoFit/>
          </a:bodyPr>
          <a:lstStyle/>
          <a:p>
            <a:r>
              <a:rPr lang="pt-PT" sz="1100"/>
              <a:t>Select the Counter Object</a:t>
            </a:r>
          </a:p>
        </p:txBody>
      </p:sp>
      <p:sp>
        <p:nvSpPr>
          <p:cNvPr id="44" name="TextBox 43">
            <a:extLst>
              <a:ext uri="{FF2B5EF4-FFF2-40B4-BE49-F238E27FC236}">
                <a16:creationId xmlns:a16="http://schemas.microsoft.com/office/drawing/2014/main" id="{271DBF66-6B23-4624-B0C9-F8AA848BFDEB}"/>
              </a:ext>
            </a:extLst>
          </p:cNvPr>
          <p:cNvSpPr txBox="1"/>
          <p:nvPr/>
        </p:nvSpPr>
        <p:spPr>
          <a:xfrm>
            <a:off x="7145070" y="871323"/>
            <a:ext cx="1181908" cy="430887"/>
          </a:xfrm>
          <a:prstGeom prst="rect">
            <a:avLst/>
          </a:prstGeom>
          <a:noFill/>
          <a:ln>
            <a:solidFill>
              <a:schemeClr val="tx1">
                <a:lumMod val="95000"/>
                <a:lumOff val="5000"/>
              </a:schemeClr>
            </a:solidFill>
          </a:ln>
        </p:spPr>
        <p:txBody>
          <a:bodyPr wrap="square" rtlCol="0">
            <a:spAutoFit/>
          </a:bodyPr>
          <a:lstStyle/>
          <a:p>
            <a:r>
              <a:rPr lang="pt-PT" sz="1100"/>
              <a:t>Select the counter instance</a:t>
            </a:r>
          </a:p>
        </p:txBody>
      </p:sp>
      <p:sp>
        <p:nvSpPr>
          <p:cNvPr id="59" name="TextBox 58">
            <a:extLst>
              <a:ext uri="{FF2B5EF4-FFF2-40B4-BE49-F238E27FC236}">
                <a16:creationId xmlns:a16="http://schemas.microsoft.com/office/drawing/2014/main" id="{8612D611-6100-46B4-AD8D-74855018D8FA}"/>
              </a:ext>
            </a:extLst>
          </p:cNvPr>
          <p:cNvSpPr txBox="1"/>
          <p:nvPr/>
        </p:nvSpPr>
        <p:spPr>
          <a:xfrm>
            <a:off x="8555490" y="871322"/>
            <a:ext cx="1062182" cy="430887"/>
          </a:xfrm>
          <a:prstGeom prst="rect">
            <a:avLst/>
          </a:prstGeom>
          <a:noFill/>
          <a:ln>
            <a:solidFill>
              <a:schemeClr val="tx1">
                <a:lumMod val="95000"/>
                <a:lumOff val="5000"/>
              </a:schemeClr>
            </a:solidFill>
          </a:ln>
        </p:spPr>
        <p:txBody>
          <a:bodyPr wrap="square" rtlCol="0">
            <a:spAutoFit/>
          </a:bodyPr>
          <a:lstStyle/>
          <a:p>
            <a:r>
              <a:rPr lang="pt-PT" sz="1100"/>
              <a:t>Select Select the Counter</a:t>
            </a:r>
          </a:p>
        </p:txBody>
      </p:sp>
      <p:sp>
        <p:nvSpPr>
          <p:cNvPr id="61" name="TextBox 60">
            <a:extLst>
              <a:ext uri="{FF2B5EF4-FFF2-40B4-BE49-F238E27FC236}">
                <a16:creationId xmlns:a16="http://schemas.microsoft.com/office/drawing/2014/main" id="{BA823E0A-F41F-4963-9F21-ECF934E6BAA3}"/>
              </a:ext>
            </a:extLst>
          </p:cNvPr>
          <p:cNvSpPr txBox="1"/>
          <p:nvPr/>
        </p:nvSpPr>
        <p:spPr>
          <a:xfrm>
            <a:off x="9995410" y="703581"/>
            <a:ext cx="1062182" cy="600164"/>
          </a:xfrm>
          <a:prstGeom prst="rect">
            <a:avLst/>
          </a:prstGeom>
          <a:noFill/>
          <a:ln>
            <a:solidFill>
              <a:schemeClr val="tx1">
                <a:lumMod val="95000"/>
                <a:lumOff val="5000"/>
              </a:schemeClr>
            </a:solidFill>
          </a:ln>
        </p:spPr>
        <p:txBody>
          <a:bodyPr wrap="square" rtlCol="0">
            <a:spAutoFit/>
          </a:bodyPr>
          <a:lstStyle/>
          <a:p>
            <a:r>
              <a:rPr lang="pt-PT" sz="1100"/>
              <a:t>Select the best visualization type</a:t>
            </a:r>
          </a:p>
        </p:txBody>
      </p:sp>
    </p:spTree>
    <p:extLst>
      <p:ext uri="{BB962C8B-B14F-4D97-AF65-F5344CB8AC3E}">
        <p14:creationId xmlns:p14="http://schemas.microsoft.com/office/powerpoint/2010/main" val="1999119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3"/>
                </a:solidFill>
              </a:rPr>
              <a:t>Hyper-V Hypervisor Logical Processor\</a:t>
            </a:r>
          </a:p>
        </p:txBody>
      </p:sp>
      <p:graphicFrame>
        <p:nvGraphicFramePr>
          <p:cNvPr id="4" name="Table 3"/>
          <p:cNvGraphicFramePr>
            <a:graphicFrameLocks noGrp="1"/>
          </p:cNvGraphicFramePr>
          <p:nvPr/>
        </p:nvGraphicFramePr>
        <p:xfrm>
          <a:off x="343941" y="1636151"/>
          <a:ext cx="11477381" cy="4252605"/>
        </p:xfrm>
        <a:graphic>
          <a:graphicData uri="http://schemas.openxmlformats.org/drawingml/2006/table">
            <a:tbl>
              <a:tblPr>
                <a:tableStyleId>{306799F8-075E-4A3A-A7F6-7FBC6576F1A4}</a:tableStyleId>
              </a:tblPr>
              <a:tblGrid>
                <a:gridCol w="3536965">
                  <a:extLst>
                    <a:ext uri="{9D8B030D-6E8A-4147-A177-3AD203B41FA5}">
                      <a16:colId xmlns:a16="http://schemas.microsoft.com/office/drawing/2014/main" val="20000"/>
                    </a:ext>
                  </a:extLst>
                </a:gridCol>
                <a:gridCol w="3970208">
                  <a:extLst>
                    <a:ext uri="{9D8B030D-6E8A-4147-A177-3AD203B41FA5}">
                      <a16:colId xmlns:a16="http://schemas.microsoft.com/office/drawing/2014/main" val="20001"/>
                    </a:ext>
                  </a:extLst>
                </a:gridCol>
                <a:gridCol w="3970208">
                  <a:extLst>
                    <a:ext uri="{9D8B030D-6E8A-4147-A177-3AD203B41FA5}">
                      <a16:colId xmlns:a16="http://schemas.microsoft.com/office/drawing/2014/main" val="20002"/>
                    </a:ext>
                  </a:extLst>
                </a:gridCol>
              </a:tblGrid>
              <a:tr h="882028">
                <a:tc>
                  <a:txBody>
                    <a:bodyPr/>
                    <a:lstStyle/>
                    <a:p>
                      <a:pPr marL="0" algn="l" defTabSz="914367" rtl="0" eaLnBrk="1" latinLnBrk="0" hangingPunct="1"/>
                      <a:r>
                        <a:rPr lang="en-US" sz="2400" kern="1200"/>
                        <a:t>% Guest Run Time</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r>
                        <a:rPr lang="en-US" sz="2400"/>
                        <a:t>The percentage of time spent by the processor </a:t>
                      </a:r>
                      <a:br>
                        <a:rPr lang="en-US" sz="2400"/>
                      </a:br>
                      <a:r>
                        <a:rPr lang="en-US" sz="2400" b="1"/>
                        <a:t>in guest cod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10000"/>
                  </a:ext>
                </a:extLst>
              </a:tr>
              <a:tr h="901739">
                <a:tc>
                  <a:txBody>
                    <a:bodyPr/>
                    <a:lstStyle/>
                    <a:p>
                      <a:pPr marL="0" algn="l" defTabSz="914367" rtl="0" eaLnBrk="1" latinLnBrk="0" hangingPunct="1"/>
                      <a:r>
                        <a:rPr lang="en-US" sz="2400" kern="1200"/>
                        <a:t>% Hypervisor Run Time</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r>
                        <a:rPr lang="en-US" sz="2400"/>
                        <a:t>The percentage of time spent by the processor </a:t>
                      </a:r>
                      <a:br>
                        <a:rPr lang="en-US" sz="2400"/>
                      </a:br>
                      <a:r>
                        <a:rPr lang="en-US" sz="2400" b="1"/>
                        <a:t>in hypervisor cod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10001"/>
                  </a:ext>
                </a:extLst>
              </a:tr>
              <a:tr h="822843">
                <a:tc rowSpan="3">
                  <a:txBody>
                    <a:bodyPr/>
                    <a:lstStyle/>
                    <a:p>
                      <a:pPr marL="0" algn="l" defTabSz="914367" rtl="0" eaLnBrk="1" latinLnBrk="0" hangingPunct="1"/>
                      <a:r>
                        <a:rPr lang="en-US" sz="2400" kern="1200"/>
                        <a:t>% Total</a:t>
                      </a:r>
                      <a:r>
                        <a:rPr lang="en-US" sz="2400" kern="1200" baseline="0"/>
                        <a:t> Run Time</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rowSpan="3">
                  <a:txBody>
                    <a:bodyPr/>
                    <a:lstStyle/>
                    <a:p>
                      <a:r>
                        <a:rPr lang="en-US" sz="2400"/>
                        <a:t>The percentage of time spent by the processor in guest and hypervisor cod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defRPr/>
                      </a:pPr>
                      <a:r>
                        <a:rPr lang="en-US" sz="2400" kern="0">
                          <a:solidFill>
                            <a:prstClr val="white"/>
                          </a:solidFill>
                          <a:latin typeface="Segoe UI" panose="020B0502040204020203" pitchFamily="34" charset="0"/>
                          <a:cs typeface="Segoe UI" panose="020B0502040204020203" pitchFamily="34" charset="0"/>
                        </a:rPr>
                        <a:t>Healthy</a:t>
                      </a:r>
                    </a:p>
                    <a:p>
                      <a:pPr algn="ctr">
                        <a:defRPr/>
                      </a:pPr>
                      <a:r>
                        <a:rPr lang="en-US" sz="2400" kern="0">
                          <a:solidFill>
                            <a:prstClr val="white"/>
                          </a:solidFill>
                          <a:latin typeface="Segoe UI" panose="020B0502040204020203" pitchFamily="34" charset="0"/>
                          <a:cs typeface="Segoe UI" panose="020B0502040204020203" pitchFamily="34" charset="0"/>
                        </a:rPr>
                        <a:t>Less than 75%</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2"/>
                  </a:ext>
                </a:extLst>
              </a:tr>
              <a:tr h="822843">
                <a:tc vMerge="1">
                  <a:txBody>
                    <a:bodyPr/>
                    <a:lstStyle/>
                    <a:p>
                      <a:endParaRPr lang="en-US"/>
                    </a:p>
                  </a:txBody>
                  <a:tcPr/>
                </a:tc>
                <a:tc vMerge="1">
                  <a:txBody>
                    <a:bodyPr/>
                    <a:lstStyle/>
                    <a:p>
                      <a:endParaRPr lang="en-US" sz="2400"/>
                    </a:p>
                  </a:txBody>
                  <a:tcPr>
                    <a:solidFill>
                      <a:srgbClr val="0071C6"/>
                    </a:solidFill>
                  </a:tcPr>
                </a:tc>
                <a:tc>
                  <a:txBody>
                    <a:bodyPr/>
                    <a:lstStyle/>
                    <a:p>
                      <a:pPr algn="ctr">
                        <a:defRPr/>
                      </a:pPr>
                      <a:r>
                        <a:rPr lang="en-US" sz="2400" kern="0">
                          <a:solidFill>
                            <a:prstClr val="white"/>
                          </a:solidFill>
                          <a:latin typeface="Segoe UI" panose="020B0502040204020203" pitchFamily="34" charset="0"/>
                          <a:cs typeface="Segoe UI" panose="020B0502040204020203" pitchFamily="34" charset="0"/>
                        </a:rPr>
                        <a:t>Caution</a:t>
                      </a:r>
                    </a:p>
                    <a:p>
                      <a:pPr algn="ctr">
                        <a:defRPr/>
                      </a:pPr>
                      <a:r>
                        <a:rPr lang="en-US" sz="2400" kern="0">
                          <a:solidFill>
                            <a:prstClr val="white"/>
                          </a:solidFill>
                          <a:latin typeface="Segoe UI" panose="020B0502040204020203" pitchFamily="34" charset="0"/>
                          <a:cs typeface="Segoe UI" panose="020B0502040204020203" pitchFamily="34" charset="0"/>
                        </a:rPr>
                        <a:t>Between 75% and 85%</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0003"/>
                  </a:ext>
                </a:extLst>
              </a:tr>
              <a:tr h="822843">
                <a:tc vMerge="1">
                  <a:txBody>
                    <a:bodyPr/>
                    <a:lstStyle/>
                    <a:p>
                      <a:endParaRPr lang="en-US"/>
                    </a:p>
                  </a:txBody>
                  <a:tcPr/>
                </a:tc>
                <a:tc vMerge="1">
                  <a:txBody>
                    <a:bodyPr/>
                    <a:lstStyle/>
                    <a:p>
                      <a:endParaRPr lang="en-US" sz="2400"/>
                    </a:p>
                  </a:txBody>
                  <a:tcPr>
                    <a:solidFill>
                      <a:srgbClr val="0071C6"/>
                    </a:solidFill>
                  </a:tcPr>
                </a:tc>
                <a:tc>
                  <a:txBody>
                    <a:bodyPr/>
                    <a:lstStyle/>
                    <a:p>
                      <a:pPr algn="ctr"/>
                      <a:r>
                        <a:rPr lang="en-US" sz="2400">
                          <a:solidFill>
                            <a:prstClr val="white"/>
                          </a:solidFill>
                          <a:latin typeface="Segoe UI" panose="020B0502040204020203" pitchFamily="34" charset="0"/>
                          <a:cs typeface="Segoe UI" panose="020B0502040204020203" pitchFamily="34" charset="0"/>
                        </a:rPr>
                        <a:t>Critical</a:t>
                      </a:r>
                    </a:p>
                    <a:p>
                      <a:pPr algn="ctr"/>
                      <a:r>
                        <a:rPr lang="en-US" sz="2400">
                          <a:solidFill>
                            <a:prstClr val="white"/>
                          </a:solidFill>
                          <a:latin typeface="Segoe UI" panose="020B0502040204020203" pitchFamily="34" charset="0"/>
                          <a:cs typeface="Segoe UI" panose="020B0502040204020203" pitchFamily="34" charset="0"/>
                        </a:rPr>
                        <a:t>Between 85% and 100%</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441486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313">
                <a:solidFill>
                  <a:schemeClr val="accent3"/>
                </a:solidFill>
              </a:rPr>
              <a:t>Hyper-V Hypervisor Logical Processor\ (continued)</a:t>
            </a:r>
          </a:p>
        </p:txBody>
      </p:sp>
      <p:graphicFrame>
        <p:nvGraphicFramePr>
          <p:cNvPr id="4" name="Table 3"/>
          <p:cNvGraphicFramePr>
            <a:graphicFrameLocks noGrp="1"/>
          </p:cNvGraphicFramePr>
          <p:nvPr/>
        </p:nvGraphicFramePr>
        <p:xfrm>
          <a:off x="444556" y="2022610"/>
          <a:ext cx="11267273" cy="2468838"/>
        </p:xfrm>
        <a:graphic>
          <a:graphicData uri="http://schemas.openxmlformats.org/drawingml/2006/table">
            <a:tbl>
              <a:tblPr>
                <a:tableStyleId>{306799F8-075E-4A3A-A7F6-7FBC6576F1A4}</a:tableStyleId>
              </a:tblPr>
              <a:tblGrid>
                <a:gridCol w="3347844">
                  <a:extLst>
                    <a:ext uri="{9D8B030D-6E8A-4147-A177-3AD203B41FA5}">
                      <a16:colId xmlns:a16="http://schemas.microsoft.com/office/drawing/2014/main" val="20000"/>
                    </a:ext>
                  </a:extLst>
                </a:gridCol>
                <a:gridCol w="3959551">
                  <a:extLst>
                    <a:ext uri="{9D8B030D-6E8A-4147-A177-3AD203B41FA5}">
                      <a16:colId xmlns:a16="http://schemas.microsoft.com/office/drawing/2014/main" val="20001"/>
                    </a:ext>
                  </a:extLst>
                </a:gridCol>
                <a:gridCol w="3959878">
                  <a:extLst>
                    <a:ext uri="{9D8B030D-6E8A-4147-A177-3AD203B41FA5}">
                      <a16:colId xmlns:a16="http://schemas.microsoft.com/office/drawing/2014/main" val="20002"/>
                    </a:ext>
                  </a:extLst>
                </a:gridCol>
              </a:tblGrid>
              <a:tr h="822843">
                <a:tc rowSpan="3">
                  <a:txBody>
                    <a:bodyPr/>
                    <a:lstStyle/>
                    <a:p>
                      <a:pPr marL="0" algn="l" defTabSz="914367" rtl="0" eaLnBrk="1" latinLnBrk="0" hangingPunct="1"/>
                      <a:r>
                        <a:rPr lang="en-US" sz="2400" kern="1200"/>
                        <a:t>Context Switches/Sec</a:t>
                      </a:r>
                    </a:p>
                    <a:p>
                      <a:pPr marL="0" algn="l" defTabSz="914367" rtl="0" eaLnBrk="1" latinLnBrk="0" hangingPunct="1"/>
                      <a:r>
                        <a:rPr lang="en-US" sz="2400" kern="1200"/>
                        <a:t>(per core instanc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rowSpan="3">
                  <a:txBody>
                    <a:bodyPr/>
                    <a:lstStyle/>
                    <a:p>
                      <a:r>
                        <a:rPr lang="en-US" sz="2400"/>
                        <a:t>The rate of virtual processor context switches on the processor</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defRPr/>
                      </a:pPr>
                      <a:r>
                        <a:rPr lang="en-US" sz="2400" kern="0">
                          <a:solidFill>
                            <a:prstClr val="white"/>
                          </a:solidFill>
                          <a:latin typeface="Segoe UI" panose="020B0502040204020203" pitchFamily="34" charset="0"/>
                          <a:cs typeface="Segoe UI" panose="020B0502040204020203" pitchFamily="34" charset="0"/>
                        </a:rPr>
                        <a:t>Healthy</a:t>
                      </a:r>
                    </a:p>
                    <a:p>
                      <a:pPr algn="ctr">
                        <a:defRPr/>
                      </a:pPr>
                      <a:r>
                        <a:rPr lang="en-US" sz="2400" kern="0">
                          <a:solidFill>
                            <a:prstClr val="white"/>
                          </a:solidFill>
                          <a:latin typeface="Segoe UI" panose="020B0502040204020203" pitchFamily="34" charset="0"/>
                          <a:cs typeface="Segoe UI" panose="020B0502040204020203" pitchFamily="34" charset="0"/>
                        </a:rPr>
                        <a:t>Less than 10,000</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0"/>
                  </a:ext>
                </a:extLst>
              </a:tr>
              <a:tr h="822843">
                <a:tc vMerge="1">
                  <a:txBody>
                    <a:bodyPr/>
                    <a:lstStyle/>
                    <a:p>
                      <a:endParaRPr lang="en-US"/>
                    </a:p>
                  </a:txBody>
                  <a:tcPr/>
                </a:tc>
                <a:tc vMerge="1">
                  <a:txBody>
                    <a:bodyPr/>
                    <a:lstStyle/>
                    <a:p>
                      <a:endParaRPr lang="en-US" sz="2400"/>
                    </a:p>
                  </a:txBody>
                  <a:tcPr>
                    <a:solidFill>
                      <a:srgbClr val="0071C6"/>
                    </a:solidFill>
                  </a:tcPr>
                </a:tc>
                <a:tc>
                  <a:txBody>
                    <a:bodyPr/>
                    <a:lstStyle/>
                    <a:p>
                      <a:pPr algn="ctr">
                        <a:defRPr/>
                      </a:pPr>
                      <a:r>
                        <a:rPr lang="en-US" sz="2400" kern="0">
                          <a:solidFill>
                            <a:prstClr val="white"/>
                          </a:solidFill>
                          <a:latin typeface="Segoe UI" panose="020B0502040204020203" pitchFamily="34" charset="0"/>
                          <a:cs typeface="Segoe UI" panose="020B0502040204020203" pitchFamily="34" charset="0"/>
                        </a:rPr>
                        <a:t>Caution</a:t>
                      </a:r>
                    </a:p>
                    <a:p>
                      <a:pPr algn="ctr">
                        <a:defRPr/>
                      </a:pPr>
                      <a:r>
                        <a:rPr lang="en-US" sz="2400" kern="0">
                          <a:solidFill>
                            <a:prstClr val="white"/>
                          </a:solidFill>
                          <a:latin typeface="Segoe UI" panose="020B0502040204020203" pitchFamily="34" charset="0"/>
                          <a:cs typeface="Segoe UI" panose="020B0502040204020203" pitchFamily="34" charset="0"/>
                        </a:rPr>
                        <a:t>Between 10,000 and 20,000</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0001"/>
                  </a:ext>
                </a:extLst>
              </a:tr>
              <a:tr h="822843">
                <a:tc vMerge="1">
                  <a:txBody>
                    <a:bodyPr/>
                    <a:lstStyle/>
                    <a:p>
                      <a:endParaRPr lang="en-US"/>
                    </a:p>
                  </a:txBody>
                  <a:tcPr/>
                </a:tc>
                <a:tc vMerge="1">
                  <a:txBody>
                    <a:bodyPr/>
                    <a:lstStyle/>
                    <a:p>
                      <a:endParaRPr lang="en-US" sz="2400"/>
                    </a:p>
                  </a:txBody>
                  <a:tcPr>
                    <a:solidFill>
                      <a:srgbClr val="0071C6"/>
                    </a:solidFill>
                  </a:tcPr>
                </a:tc>
                <a:tc>
                  <a:txBody>
                    <a:bodyPr/>
                    <a:lstStyle/>
                    <a:p>
                      <a:pPr algn="ctr"/>
                      <a:r>
                        <a:rPr lang="en-US" sz="2400">
                          <a:solidFill>
                            <a:prstClr val="white"/>
                          </a:solidFill>
                          <a:latin typeface="Segoe UI" panose="020B0502040204020203" pitchFamily="34" charset="0"/>
                          <a:cs typeface="Segoe UI" panose="020B0502040204020203" pitchFamily="34" charset="0"/>
                        </a:rPr>
                        <a:t>Critical</a:t>
                      </a:r>
                    </a:p>
                    <a:p>
                      <a:pPr algn="ctr"/>
                      <a:r>
                        <a:rPr lang="en-US" sz="2400">
                          <a:solidFill>
                            <a:prstClr val="white"/>
                          </a:solidFill>
                          <a:latin typeface="Segoe UI" panose="020B0502040204020203" pitchFamily="34" charset="0"/>
                          <a:cs typeface="Segoe UI" panose="020B0502040204020203" pitchFamily="34" charset="0"/>
                        </a:rPr>
                        <a:t>Above 20,000</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002"/>
                  </a:ext>
                </a:extLst>
              </a:tr>
            </a:tbl>
          </a:graphicData>
        </a:graphic>
      </p:graphicFrame>
      <p:sp>
        <p:nvSpPr>
          <p:cNvPr id="5" name="TextBox 4">
            <a:extLst>
              <a:ext uri="{FF2B5EF4-FFF2-40B4-BE49-F238E27FC236}">
                <a16:creationId xmlns:a16="http://schemas.microsoft.com/office/drawing/2014/main" id="{EA9B8336-0D59-43EC-B344-9AB36905EAB6}"/>
              </a:ext>
            </a:extLst>
          </p:cNvPr>
          <p:cNvSpPr txBox="1"/>
          <p:nvPr/>
        </p:nvSpPr>
        <p:spPr>
          <a:xfrm>
            <a:off x="271950" y="5874623"/>
            <a:ext cx="11828564" cy="362072"/>
          </a:xfrm>
          <a:prstGeom prst="rect">
            <a:avLst/>
          </a:prstGeom>
          <a:noFill/>
        </p:spPr>
        <p:txBody>
          <a:bodyPr wrap="square" rtlCol="0" anchor="t">
            <a:spAutoFit/>
          </a:bodyPr>
          <a:lstStyle/>
          <a:p>
            <a:r>
              <a:rPr lang="en-US" sz="1765" b="1">
                <a:solidFill>
                  <a:srgbClr val="FF0000"/>
                </a:solidFill>
                <a:latin typeface="Segoe UI"/>
                <a:cs typeface="Segoe UI"/>
              </a:rPr>
              <a:t>Note: does not take into account the number of context switches made by the threads running in the host OS</a:t>
            </a:r>
          </a:p>
        </p:txBody>
      </p:sp>
    </p:spTree>
    <p:extLst>
      <p:ext uri="{BB962C8B-B14F-4D97-AF65-F5344CB8AC3E}">
        <p14:creationId xmlns:p14="http://schemas.microsoft.com/office/powerpoint/2010/main" val="147170580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3"/>
                </a:solidFill>
              </a:rPr>
              <a:t>Hyper-V Hypervisor Virtual Processor\</a:t>
            </a:r>
          </a:p>
        </p:txBody>
      </p:sp>
      <p:graphicFrame>
        <p:nvGraphicFramePr>
          <p:cNvPr id="4" name="Table 3"/>
          <p:cNvGraphicFramePr>
            <a:graphicFrameLocks noGrp="1"/>
          </p:cNvGraphicFramePr>
          <p:nvPr/>
        </p:nvGraphicFramePr>
        <p:xfrm>
          <a:off x="343941" y="1561449"/>
          <a:ext cx="11477382" cy="3703965"/>
        </p:xfrm>
        <a:graphic>
          <a:graphicData uri="http://schemas.openxmlformats.org/drawingml/2006/table">
            <a:tbl>
              <a:tblPr>
                <a:tableStyleId>{306799F8-075E-4A3A-A7F6-7FBC6576F1A4}</a:tableStyleId>
              </a:tblPr>
              <a:tblGrid>
                <a:gridCol w="3391787">
                  <a:extLst>
                    <a:ext uri="{9D8B030D-6E8A-4147-A177-3AD203B41FA5}">
                      <a16:colId xmlns:a16="http://schemas.microsoft.com/office/drawing/2014/main" val="20000"/>
                    </a:ext>
                  </a:extLst>
                </a:gridCol>
                <a:gridCol w="3400639">
                  <a:extLst>
                    <a:ext uri="{9D8B030D-6E8A-4147-A177-3AD203B41FA5}">
                      <a16:colId xmlns:a16="http://schemas.microsoft.com/office/drawing/2014/main" val="20001"/>
                    </a:ext>
                  </a:extLst>
                </a:gridCol>
                <a:gridCol w="4684956">
                  <a:extLst>
                    <a:ext uri="{9D8B030D-6E8A-4147-A177-3AD203B41FA5}">
                      <a16:colId xmlns:a16="http://schemas.microsoft.com/office/drawing/2014/main" val="20002"/>
                    </a:ext>
                  </a:extLst>
                </a:gridCol>
              </a:tblGrid>
              <a:tr h="882028">
                <a:tc>
                  <a:txBody>
                    <a:bodyPr/>
                    <a:lstStyle/>
                    <a:p>
                      <a:pPr marL="0" algn="l" defTabSz="914367" rtl="0" eaLnBrk="1" latinLnBrk="0" hangingPunct="1"/>
                      <a:r>
                        <a:rPr lang="en-US" sz="2400" kern="1200"/>
                        <a:t>% Guest Run Time</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r>
                        <a:rPr lang="en-US" sz="2400"/>
                        <a:t>The percentage of time spent by the processor </a:t>
                      </a:r>
                      <a:br>
                        <a:rPr lang="en-US" sz="2400"/>
                      </a:br>
                      <a:r>
                        <a:rPr lang="en-US" sz="2400" b="1"/>
                        <a:t>in guest cod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10000"/>
                  </a:ext>
                </a:extLst>
              </a:tr>
              <a:tr h="901739">
                <a:tc>
                  <a:txBody>
                    <a:bodyPr/>
                    <a:lstStyle/>
                    <a:p>
                      <a:pPr marL="0" algn="l" defTabSz="914367" rtl="0" eaLnBrk="1" latinLnBrk="0" hangingPunct="1"/>
                      <a:r>
                        <a:rPr lang="en-US" sz="2400" kern="1200"/>
                        <a:t>% Hypervisor Run Time</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r>
                        <a:rPr lang="en-US" sz="2400"/>
                        <a:t>The percentage of time spent by the processor </a:t>
                      </a:r>
                      <a:br>
                        <a:rPr lang="en-US" sz="2400"/>
                      </a:br>
                      <a:r>
                        <a:rPr lang="en-US" sz="2400" b="1"/>
                        <a:t>in hypervisor cod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10001"/>
                  </a:ext>
                </a:extLst>
              </a:tr>
              <a:tr h="639989">
                <a:tc rowSpan="3">
                  <a:txBody>
                    <a:bodyPr/>
                    <a:lstStyle/>
                    <a:p>
                      <a:pPr marL="0" algn="l" defTabSz="914367" rtl="0" eaLnBrk="1" latinLnBrk="0" hangingPunct="1"/>
                      <a:r>
                        <a:rPr lang="en-US" sz="2400" kern="1200"/>
                        <a:t>% Total</a:t>
                      </a:r>
                      <a:r>
                        <a:rPr lang="en-US" sz="2400" kern="1200" baseline="0"/>
                        <a:t> Run Time</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rowSpan="3">
                  <a:txBody>
                    <a:bodyPr/>
                    <a:lstStyle/>
                    <a:p>
                      <a:r>
                        <a:rPr lang="en-US" sz="2400"/>
                        <a:t>The percentage of time spent by the processor in guest and hypervisor cod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defRPr/>
                      </a:pPr>
                      <a:r>
                        <a:rPr lang="en-US" sz="1800" kern="0">
                          <a:solidFill>
                            <a:prstClr val="white"/>
                          </a:solidFill>
                          <a:latin typeface="Segoe UI" panose="020B0502040204020203" pitchFamily="34" charset="0"/>
                          <a:cs typeface="Segoe UI" panose="020B0502040204020203" pitchFamily="34" charset="0"/>
                        </a:rPr>
                        <a:t>Healthy</a:t>
                      </a:r>
                    </a:p>
                    <a:p>
                      <a:pPr algn="ctr">
                        <a:defRPr/>
                      </a:pPr>
                      <a:r>
                        <a:rPr lang="en-US" sz="1800" kern="0">
                          <a:solidFill>
                            <a:prstClr val="white"/>
                          </a:solidFill>
                          <a:latin typeface="Segoe UI" panose="020B0502040204020203" pitchFamily="34" charset="0"/>
                          <a:cs typeface="Segoe UI" panose="020B0502040204020203" pitchFamily="34" charset="0"/>
                        </a:rPr>
                        <a:t>Less than 75%</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2"/>
                  </a:ext>
                </a:extLst>
              </a:tr>
              <a:tr h="639989">
                <a:tc vMerge="1">
                  <a:txBody>
                    <a:bodyPr/>
                    <a:lstStyle/>
                    <a:p>
                      <a:endParaRPr lang="en-US"/>
                    </a:p>
                  </a:txBody>
                  <a:tcPr/>
                </a:tc>
                <a:tc vMerge="1">
                  <a:txBody>
                    <a:bodyPr/>
                    <a:lstStyle/>
                    <a:p>
                      <a:endParaRPr lang="en-US" sz="2400"/>
                    </a:p>
                  </a:txBody>
                  <a:tcPr>
                    <a:solidFill>
                      <a:srgbClr val="0071C6"/>
                    </a:solidFill>
                  </a:tcPr>
                </a:tc>
                <a:tc>
                  <a:txBody>
                    <a:bodyPr/>
                    <a:lstStyle/>
                    <a:p>
                      <a:pPr algn="ctr">
                        <a:defRPr/>
                      </a:pPr>
                      <a:r>
                        <a:rPr lang="en-US" sz="1800" kern="0">
                          <a:solidFill>
                            <a:prstClr val="white"/>
                          </a:solidFill>
                          <a:latin typeface="Segoe UI" panose="020B0502040204020203" pitchFamily="34" charset="0"/>
                          <a:cs typeface="Segoe UI" panose="020B0502040204020203" pitchFamily="34" charset="0"/>
                        </a:rPr>
                        <a:t>Caution</a:t>
                      </a:r>
                    </a:p>
                    <a:p>
                      <a:pPr algn="ctr">
                        <a:defRPr/>
                      </a:pPr>
                      <a:r>
                        <a:rPr lang="en-US" sz="1800" kern="0">
                          <a:solidFill>
                            <a:prstClr val="white"/>
                          </a:solidFill>
                          <a:latin typeface="Segoe UI" panose="020B0502040204020203" pitchFamily="34" charset="0"/>
                          <a:cs typeface="Segoe UI" panose="020B0502040204020203" pitchFamily="34" charset="0"/>
                        </a:rPr>
                        <a:t>Between 75% and 90%</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0003"/>
                  </a:ext>
                </a:extLst>
              </a:tr>
              <a:tr h="639989">
                <a:tc vMerge="1">
                  <a:txBody>
                    <a:bodyPr/>
                    <a:lstStyle/>
                    <a:p>
                      <a:endParaRPr lang="en-US"/>
                    </a:p>
                  </a:txBody>
                  <a:tcPr/>
                </a:tc>
                <a:tc vMerge="1">
                  <a:txBody>
                    <a:bodyPr/>
                    <a:lstStyle/>
                    <a:p>
                      <a:endParaRPr lang="en-US" sz="2400"/>
                    </a:p>
                  </a:txBody>
                  <a:tcPr>
                    <a:solidFill>
                      <a:srgbClr val="0071C6"/>
                    </a:solidFill>
                  </a:tcPr>
                </a:tc>
                <a:tc>
                  <a:txBody>
                    <a:bodyPr/>
                    <a:lstStyle/>
                    <a:p>
                      <a:pPr algn="ctr"/>
                      <a:r>
                        <a:rPr lang="en-US" sz="1800">
                          <a:solidFill>
                            <a:prstClr val="white"/>
                          </a:solidFill>
                          <a:latin typeface="Segoe UI" panose="020B0502040204020203" pitchFamily="34" charset="0"/>
                          <a:cs typeface="Segoe UI" panose="020B0502040204020203" pitchFamily="34" charset="0"/>
                        </a:rPr>
                        <a:t>Critical</a:t>
                      </a:r>
                    </a:p>
                    <a:p>
                      <a:pPr algn="ctr"/>
                      <a:r>
                        <a:rPr lang="en-US" sz="1800">
                          <a:solidFill>
                            <a:prstClr val="white"/>
                          </a:solidFill>
                          <a:latin typeface="Segoe UI" panose="020B0502040204020203" pitchFamily="34" charset="0"/>
                          <a:cs typeface="Segoe UI" panose="020B0502040204020203" pitchFamily="34" charset="0"/>
                        </a:rPr>
                        <a:t>Above 90%</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004"/>
                  </a:ext>
                </a:extLst>
              </a:tr>
            </a:tbl>
          </a:graphicData>
        </a:graphic>
      </p:graphicFrame>
      <p:sp>
        <p:nvSpPr>
          <p:cNvPr id="5" name="TextBox 4"/>
          <p:cNvSpPr txBox="1"/>
          <p:nvPr/>
        </p:nvSpPr>
        <p:spPr>
          <a:xfrm>
            <a:off x="403144" y="5652685"/>
            <a:ext cx="11463936" cy="891970"/>
          </a:xfrm>
          <a:prstGeom prst="rect">
            <a:avLst/>
          </a:prstGeom>
          <a:noFill/>
        </p:spPr>
        <p:txBody>
          <a:bodyPr wrap="square" lIns="182854" tIns="146284" rIns="182854" bIns="146284" rtlCol="0" anchor="t">
            <a:normAutofit/>
          </a:bodyPr>
          <a:lstStyle/>
          <a:p>
            <a:pPr defTabSz="914225">
              <a:lnSpc>
                <a:spcPct val="90000"/>
              </a:lnSpc>
              <a:spcAft>
                <a:spcPts val="600"/>
              </a:spcAft>
              <a:defRPr/>
            </a:pPr>
            <a:r>
              <a:rPr lang="en-US" sz="1765" b="1">
                <a:solidFill>
                  <a:srgbClr val="FF0000"/>
                </a:solidFill>
                <a:latin typeface="Segoe UI"/>
              </a:rPr>
              <a:t>Note: if \Hyper-V Hypervisor Virtual Processor\% Total Run Time (VPTR) is High and (LPTR) is low, consider allocating additional processors to VMs </a:t>
            </a:r>
            <a:endParaRPr lang="en-US" b="1">
              <a:solidFill>
                <a:srgbClr val="FF0000"/>
              </a:solidFill>
              <a:latin typeface="Segoe UI"/>
            </a:endParaRPr>
          </a:p>
        </p:txBody>
      </p:sp>
    </p:spTree>
    <p:extLst>
      <p:ext uri="{BB962C8B-B14F-4D97-AF65-F5344CB8AC3E}">
        <p14:creationId xmlns:p14="http://schemas.microsoft.com/office/powerpoint/2010/main" val="203448100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chemeClr val="accent3"/>
                </a:solidFill>
              </a:rPr>
              <a:t>Hyper-V Hypervisor Root Virtual Processor\</a:t>
            </a:r>
          </a:p>
        </p:txBody>
      </p:sp>
      <p:graphicFrame>
        <p:nvGraphicFramePr>
          <p:cNvPr id="4" name="Table 3"/>
          <p:cNvGraphicFramePr>
            <a:graphicFrameLocks noGrp="1"/>
          </p:cNvGraphicFramePr>
          <p:nvPr/>
        </p:nvGraphicFramePr>
        <p:xfrm>
          <a:off x="343941" y="1785554"/>
          <a:ext cx="11477382" cy="3886845"/>
        </p:xfrm>
        <a:graphic>
          <a:graphicData uri="http://schemas.openxmlformats.org/drawingml/2006/table">
            <a:tbl>
              <a:tblPr>
                <a:tableStyleId>{306799F8-075E-4A3A-A7F6-7FBC6576F1A4}</a:tableStyleId>
              </a:tblPr>
              <a:tblGrid>
                <a:gridCol w="3391787">
                  <a:extLst>
                    <a:ext uri="{9D8B030D-6E8A-4147-A177-3AD203B41FA5}">
                      <a16:colId xmlns:a16="http://schemas.microsoft.com/office/drawing/2014/main" val="20000"/>
                    </a:ext>
                  </a:extLst>
                </a:gridCol>
                <a:gridCol w="3400639">
                  <a:extLst>
                    <a:ext uri="{9D8B030D-6E8A-4147-A177-3AD203B41FA5}">
                      <a16:colId xmlns:a16="http://schemas.microsoft.com/office/drawing/2014/main" val="20001"/>
                    </a:ext>
                  </a:extLst>
                </a:gridCol>
                <a:gridCol w="4684956">
                  <a:extLst>
                    <a:ext uri="{9D8B030D-6E8A-4147-A177-3AD203B41FA5}">
                      <a16:colId xmlns:a16="http://schemas.microsoft.com/office/drawing/2014/main" val="20002"/>
                    </a:ext>
                  </a:extLst>
                </a:gridCol>
              </a:tblGrid>
              <a:tr h="882028">
                <a:tc>
                  <a:txBody>
                    <a:bodyPr/>
                    <a:lstStyle/>
                    <a:p>
                      <a:pPr marL="0" algn="l" defTabSz="914367" rtl="0" eaLnBrk="1" latinLnBrk="0" hangingPunct="1"/>
                      <a:r>
                        <a:rPr lang="en-US" sz="2400" kern="1200"/>
                        <a:t>% Guest Run Time</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r>
                        <a:rPr lang="en-US" sz="2400"/>
                        <a:t>The percentage of time spent by the processor </a:t>
                      </a:r>
                      <a:br>
                        <a:rPr lang="en-US" sz="2400"/>
                      </a:br>
                      <a:r>
                        <a:rPr lang="en-US" sz="2400" b="1"/>
                        <a:t>in guest cod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10000"/>
                  </a:ext>
                </a:extLst>
              </a:tr>
              <a:tr h="901739">
                <a:tc>
                  <a:txBody>
                    <a:bodyPr/>
                    <a:lstStyle/>
                    <a:p>
                      <a:pPr marL="0" algn="l" defTabSz="914367" rtl="0" eaLnBrk="1" latinLnBrk="0" hangingPunct="1"/>
                      <a:r>
                        <a:rPr lang="en-US" sz="2400" kern="1200"/>
                        <a:t>% Hypervisor Run Time</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gridSpan="2">
                  <a:txBody>
                    <a:bodyPr/>
                    <a:lstStyle/>
                    <a:p>
                      <a:r>
                        <a:rPr lang="en-US" sz="2400"/>
                        <a:t>The percentage of time spent by the processor </a:t>
                      </a:r>
                      <a:br>
                        <a:rPr lang="en-US" sz="2400"/>
                      </a:br>
                      <a:r>
                        <a:rPr lang="en-US" sz="2400" b="1"/>
                        <a:t>in hypervisor cod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hMerge="1">
                  <a:txBody>
                    <a:bodyPr/>
                    <a:lstStyle/>
                    <a:p>
                      <a:endParaRPr lang="en-US"/>
                    </a:p>
                  </a:txBody>
                  <a:tcPr/>
                </a:tc>
                <a:extLst>
                  <a:ext uri="{0D108BD9-81ED-4DB2-BD59-A6C34878D82A}">
                    <a16:rowId xmlns:a16="http://schemas.microsoft.com/office/drawing/2014/main" val="10001"/>
                  </a:ext>
                </a:extLst>
              </a:tr>
              <a:tr h="700941">
                <a:tc rowSpan="3">
                  <a:txBody>
                    <a:bodyPr/>
                    <a:lstStyle/>
                    <a:p>
                      <a:pPr marL="0" algn="l" defTabSz="914367" rtl="0" eaLnBrk="1" latinLnBrk="0" hangingPunct="1"/>
                      <a:r>
                        <a:rPr lang="en-US" sz="2400" kern="1200"/>
                        <a:t>% Total</a:t>
                      </a:r>
                      <a:r>
                        <a:rPr lang="en-US" sz="2400" kern="1200" baseline="0"/>
                        <a:t> Run Time</a:t>
                      </a:r>
                      <a:endParaRPr lang="en-US" sz="2400" b="1" kern="1200">
                        <a:solidFill>
                          <a:schemeClr val="lt1"/>
                        </a:solidFill>
                        <a:latin typeface="+mn-lt"/>
                        <a:ea typeface="+mn-ea"/>
                        <a:cs typeface="+mn-cs"/>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rowSpan="3">
                  <a:txBody>
                    <a:bodyPr/>
                    <a:lstStyle/>
                    <a:p>
                      <a:r>
                        <a:rPr lang="en-US" sz="2400"/>
                        <a:t>The percentage of time spent by the processor in guest and hypervisor code.</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1C6"/>
                    </a:solidFill>
                  </a:tcPr>
                </a:tc>
                <a:tc>
                  <a:txBody>
                    <a:bodyPr/>
                    <a:lstStyle/>
                    <a:p>
                      <a:pPr algn="ctr">
                        <a:defRPr/>
                      </a:pPr>
                      <a:r>
                        <a:rPr lang="en-US" sz="2000" kern="0">
                          <a:solidFill>
                            <a:prstClr val="white"/>
                          </a:solidFill>
                          <a:latin typeface="Segoe UI" panose="020B0502040204020203" pitchFamily="34" charset="0"/>
                          <a:cs typeface="Segoe UI" panose="020B0502040204020203" pitchFamily="34" charset="0"/>
                        </a:rPr>
                        <a:t>Healthy</a:t>
                      </a:r>
                    </a:p>
                    <a:p>
                      <a:pPr algn="ctr">
                        <a:defRPr/>
                      </a:pPr>
                      <a:r>
                        <a:rPr lang="en-US" sz="2000" kern="0">
                          <a:solidFill>
                            <a:prstClr val="white"/>
                          </a:solidFill>
                          <a:latin typeface="Segoe UI" panose="020B0502040204020203" pitchFamily="34" charset="0"/>
                          <a:cs typeface="Segoe UI" panose="020B0502040204020203" pitchFamily="34" charset="0"/>
                        </a:rPr>
                        <a:t>Less than 5% </a:t>
                      </a:r>
                      <a:r>
                        <a:rPr lang="en-US" sz="2000" kern="0" baseline="0">
                          <a:solidFill>
                            <a:prstClr val="white"/>
                          </a:solidFill>
                          <a:latin typeface="Segoe UI" panose="020B0502040204020203" pitchFamily="34" charset="0"/>
                          <a:cs typeface="Segoe UI" panose="020B0502040204020203" pitchFamily="34" charset="0"/>
                        </a:rPr>
                        <a:t>sustained</a:t>
                      </a:r>
                      <a:endParaRPr lang="en-US" sz="2000" kern="0">
                        <a:solidFill>
                          <a:prstClr val="white"/>
                        </a:solidFill>
                        <a:latin typeface="Segoe UI" panose="020B0502040204020203" pitchFamily="34" charset="0"/>
                        <a:cs typeface="Segoe UI" panose="020B0502040204020203" pitchFamily="34" charset="0"/>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2"/>
                  </a:ext>
                </a:extLst>
              </a:tr>
              <a:tr h="700941">
                <a:tc vMerge="1">
                  <a:txBody>
                    <a:bodyPr/>
                    <a:lstStyle/>
                    <a:p>
                      <a:endParaRPr lang="en-US"/>
                    </a:p>
                  </a:txBody>
                  <a:tcPr/>
                </a:tc>
                <a:tc vMerge="1">
                  <a:txBody>
                    <a:bodyPr/>
                    <a:lstStyle/>
                    <a:p>
                      <a:endParaRPr lang="en-US" sz="2400"/>
                    </a:p>
                  </a:txBody>
                  <a:tcPr>
                    <a:solidFill>
                      <a:srgbClr val="0071C6"/>
                    </a:solidFill>
                  </a:tcPr>
                </a:tc>
                <a:tc>
                  <a:txBody>
                    <a:bodyPr/>
                    <a:lstStyle/>
                    <a:p>
                      <a:pPr algn="ctr">
                        <a:defRPr/>
                      </a:pPr>
                      <a:r>
                        <a:rPr lang="en-US" sz="2000" kern="0">
                          <a:solidFill>
                            <a:prstClr val="white"/>
                          </a:solidFill>
                          <a:latin typeface="Segoe UI" panose="020B0502040204020203" pitchFamily="34" charset="0"/>
                          <a:cs typeface="Segoe UI" panose="020B0502040204020203" pitchFamily="34" charset="0"/>
                        </a:rPr>
                        <a:t>Caution</a:t>
                      </a:r>
                    </a:p>
                    <a:p>
                      <a:pPr algn="ctr">
                        <a:defRPr/>
                      </a:pPr>
                      <a:r>
                        <a:rPr lang="en-US" sz="2000" kern="0">
                          <a:solidFill>
                            <a:prstClr val="white"/>
                          </a:solidFill>
                          <a:latin typeface="Segoe UI" panose="020B0502040204020203" pitchFamily="34" charset="0"/>
                          <a:cs typeface="Segoe UI" panose="020B0502040204020203" pitchFamily="34" charset="0"/>
                        </a:rPr>
                        <a:t>Between  5%-10% sustained</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0003"/>
                  </a:ext>
                </a:extLst>
              </a:tr>
              <a:tr h="700941">
                <a:tc vMerge="1">
                  <a:txBody>
                    <a:bodyPr/>
                    <a:lstStyle/>
                    <a:p>
                      <a:endParaRPr lang="en-US"/>
                    </a:p>
                  </a:txBody>
                  <a:tcPr/>
                </a:tc>
                <a:tc vMerge="1">
                  <a:txBody>
                    <a:bodyPr/>
                    <a:lstStyle/>
                    <a:p>
                      <a:endParaRPr lang="en-US" sz="2400"/>
                    </a:p>
                  </a:txBody>
                  <a:tcPr>
                    <a:solidFill>
                      <a:srgbClr val="0071C6"/>
                    </a:solidFill>
                  </a:tcPr>
                </a:tc>
                <a:tc>
                  <a:txBody>
                    <a:bodyPr/>
                    <a:lstStyle/>
                    <a:p>
                      <a:pPr algn="ctr"/>
                      <a:r>
                        <a:rPr lang="en-US" sz="2000">
                          <a:solidFill>
                            <a:prstClr val="white"/>
                          </a:solidFill>
                          <a:latin typeface="Segoe UI" panose="020B0502040204020203" pitchFamily="34" charset="0"/>
                          <a:cs typeface="Segoe UI" panose="020B0502040204020203" pitchFamily="34" charset="0"/>
                        </a:rPr>
                        <a:t>Critical</a:t>
                      </a:r>
                    </a:p>
                    <a:p>
                      <a:pPr algn="ctr"/>
                      <a:r>
                        <a:rPr lang="en-US" sz="2000">
                          <a:solidFill>
                            <a:prstClr val="white"/>
                          </a:solidFill>
                          <a:latin typeface="Segoe UI" panose="020B0502040204020203" pitchFamily="34" charset="0"/>
                          <a:cs typeface="Segoe UI" panose="020B0502040204020203" pitchFamily="34" charset="0"/>
                        </a:rPr>
                        <a:t>Above 10% sustained</a:t>
                      </a: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1882183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GUID" val="1daa0485-2a47-471b-9fe1-7ab2326cab11"/>
  <p:tag name="MIO_EKGUID" val="3a54cbb8-74bf-42d0-8554-8723dfee58d7"/>
  <p:tag name="MIO_UPDATE" val="True"/>
  <p:tag name="MIO_VERSION" val="09.03.2020 15:54:31"/>
  <p:tag name="MIO_DBID" val="12b0c59e-2253-4124-a5e9-470adf4cb168"/>
  <p:tag name="MIO_LASTDOWNLOADED" val="09.03.2020 18:16:51"/>
  <p:tag name="MIO_OBJECTNAME" val="Learning Units covered in Module"/>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ef81c8d9-1deb-4032-86e6-7ef1a43c035b"/>
  <p:tag name="MIO_EKGUID" val="b68135f4-f114-439d-afee-b61bc3e58878"/>
  <p:tag name="MIO_UPDATE" val="True"/>
  <p:tag name="MIO_VERSION" val="09.03.2020 15:54:31"/>
  <p:tag name="MIO_DBID" val="12b0c59e-2253-4124-a5e9-470adf4cb168"/>
  <p:tag name="MIO_LASTDOWNLOADED" val="09.03.2020 18:16:51"/>
  <p:tag name="MIO_OBJECTNAME" val="Learnings covered in Unit"/>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GUID" val="11ee5cef-cd5e-4815-8559-bd08dd00f3f0"/>
  <p:tag name="MIO_EKGUID" val="cd3badb3-63e3-4761-925c-57f7ba60085f"/>
  <p:tag name="MIO_UPDATE" val="True"/>
  <p:tag name="MIO_VERSION" val="09.03.2020 15:54:31"/>
  <p:tag name="MIO_DBID" val="12b0c59e-2253-4124-a5e9-470adf4cb168"/>
  <p:tag name="MIO_LASTDOWNLOADED" val="09.03.2020 18:16:51"/>
  <p:tag name="MIO_OBJECTNAME" val="Getting Started with Core Networking"/>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4BE2C85959B7B439EB58A3B2CE65ED1" ma:contentTypeVersion="6" ma:contentTypeDescription="Create a new document." ma:contentTypeScope="" ma:versionID="abee24661b4fa8cd7d4831da7365c977">
  <xsd:schema xmlns:xsd="http://www.w3.org/2001/XMLSchema" xmlns:xs="http://www.w3.org/2001/XMLSchema" xmlns:p="http://schemas.microsoft.com/office/2006/metadata/properties" xmlns:ns1="http://schemas.microsoft.com/sharepoint/v3" xmlns:ns2="75667d62-6bd4-405b-9aa9-0f1c94445e76" targetNamespace="http://schemas.microsoft.com/office/2006/metadata/properties" ma:root="true" ma:fieldsID="bd1e28fba59553365c319f59e0ce9a4e" ns1:_="" ns2:_="">
    <xsd:import namespace="http://schemas.microsoft.com/sharepoint/v3"/>
    <xsd:import namespace="75667d62-6bd4-405b-9aa9-0f1c94445e7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5667d62-6bd4-405b-9aa9-0f1c94445e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5D50DBE-2445-434C-A733-D8769490D6DF}">
  <ds:schemaRefs>
    <ds:schemaRef ds:uri="http://schemas.microsoft.com/sharepoint/v3/contenttype/forms"/>
  </ds:schemaRefs>
</ds:datastoreItem>
</file>

<file path=customXml/itemProps2.xml><?xml version="1.0" encoding="utf-8"?>
<ds:datastoreItem xmlns:ds="http://schemas.openxmlformats.org/officeDocument/2006/customXml" ds:itemID="{F5E7603C-240E-407C-8AB2-B6FB998F7B03}">
  <ds:schemaRefs>
    <ds:schemaRef ds:uri="http://schemas.openxmlformats.org/package/2006/metadata/core-properties"/>
    <ds:schemaRef ds:uri="http://purl.org/dc/elements/1.1/"/>
    <ds:schemaRef ds:uri="http://www.w3.org/XML/1998/namespace"/>
    <ds:schemaRef ds:uri="http://schemas.microsoft.com/office/infopath/2007/PartnerControls"/>
    <ds:schemaRef ds:uri="http://purl.org/dc/terms/"/>
    <ds:schemaRef ds:uri="http://schemas.microsoft.com/office/2006/documentManagement/types"/>
    <ds:schemaRef ds:uri="3d452d09-eb32-44c4-af43-5275a1eb17e9"/>
    <ds:schemaRef ds:uri="27d3a981-750a-4904-80e1-a3ab21186e6e"/>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610A90B8-05F7-41AA-A912-3ECB8753B724}"/>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786</Words>
  <Application>Microsoft Office PowerPoint</Application>
  <PresentationFormat>Widescreen</PresentationFormat>
  <Paragraphs>197</Paragraphs>
  <Slides>18</Slides>
  <Notes>15</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8</vt:i4>
      </vt:variant>
    </vt:vector>
  </HeadingPairs>
  <TitlesOfParts>
    <vt:vector size="28" baseType="lpstr">
      <vt:lpstr>Arial</vt:lpstr>
      <vt:lpstr>Calibri</vt:lpstr>
      <vt:lpstr>Calibri Light</vt:lpstr>
      <vt:lpstr>Segoe</vt:lpstr>
      <vt:lpstr>Segoe UI</vt:lpstr>
      <vt:lpstr>Segoe UI Light</vt:lpstr>
      <vt:lpstr>Segoe UI Semibold</vt:lpstr>
      <vt:lpstr>Segoe UI Semilight</vt:lpstr>
      <vt:lpstr>SFMono-Regular</vt:lpstr>
      <vt:lpstr>office theme</vt:lpstr>
      <vt:lpstr>Azure Stack HCI The best infrastructure for hybrid</vt:lpstr>
      <vt:lpstr>Monitoring &amp; Troubleshooting</vt:lpstr>
      <vt:lpstr>Learnings covered in Unit</vt:lpstr>
      <vt:lpstr>Troubleshooting  Compute </vt:lpstr>
      <vt:lpstr>Windows Admin Center Performance Monitor</vt:lpstr>
      <vt:lpstr>Hyper-V Hypervisor Logical Processor\</vt:lpstr>
      <vt:lpstr>Hyper-V Hypervisor Logical Processor\ (continued)</vt:lpstr>
      <vt:lpstr>Hyper-V Hypervisor Virtual Processor\</vt:lpstr>
      <vt:lpstr>Hyper-V Hypervisor Root Virtual Processor\</vt:lpstr>
      <vt:lpstr>Measuring Host Memory Usage</vt:lpstr>
      <vt:lpstr>Memory\</vt:lpstr>
      <vt:lpstr>Memory (NUMA)</vt:lpstr>
      <vt:lpstr>Hyper-V Dynamic Memory Balancer\ </vt:lpstr>
      <vt:lpstr>Hyper-V Dynamic Memory VM\ </vt:lpstr>
      <vt:lpstr>Azure Stack HCI Events</vt:lpstr>
      <vt:lpstr>Event Logs in Event Viewer</vt:lpstr>
      <vt:lpstr>Azure Stack HCI Diagnostics</vt:lpstr>
      <vt:lpstr>Please Provide Feedba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Michael Godfrey</cp:lastModifiedBy>
  <cp:revision>3</cp:revision>
  <dcterms:created xsi:type="dcterms:W3CDTF">2020-11-20T13:44:52Z</dcterms:created>
  <dcterms:modified xsi:type="dcterms:W3CDTF">2022-02-04T16:1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604E6351D2EC439F2E51A4939A352A</vt:lpwstr>
  </property>
  <property fmtid="{D5CDD505-2E9C-101B-9397-08002B2CF9AE}" pid="3" name="Order">
    <vt:r8>81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ediaServiceImageTags">
    <vt:lpwstr/>
  </property>
</Properties>
</file>